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45.xml" ContentType="application/vnd.openxmlformats-officedocument.presentationml.slideLayout+xml"/>
  <Override PartName="/ppt/theme/theme6.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9.xml" ContentType="application/vnd.openxmlformats-officedocument.theme+xml"/>
  <Override PartName="/ppt/tags/tag10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0.xml" ContentType="application/vnd.openxmlformats-officedocument.presentationml.tags+xml"/>
  <Override PartName="/ppt/notesSlides/notesSlide4.xml" ContentType="application/vnd.openxmlformats-officedocument.presentationml.notesSlide+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33.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34.xml" ContentType="application/vnd.openxmlformats-officedocument.presentationml.notesSlide+xml"/>
  <Override PartName="/ppt/tags/tag153.xml" ContentType="application/vnd.openxmlformats-officedocument.presentationml.tags+xml"/>
  <Override PartName="/ppt/notesSlides/notesSlide3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778" r:id="rId5"/>
    <p:sldMasterId id="2147483786" r:id="rId6"/>
    <p:sldMasterId id="2147483799" r:id="rId7"/>
    <p:sldMasterId id="2147483648" r:id="rId8"/>
    <p:sldMasterId id="2147483660" r:id="rId9"/>
    <p:sldMasterId id="2147483856" r:id="rId10"/>
    <p:sldMasterId id="2147483867" r:id="rId11"/>
  </p:sldMasterIdLst>
  <p:notesMasterIdLst>
    <p:notesMasterId r:id="rId50"/>
  </p:notesMasterIdLst>
  <p:sldIdLst>
    <p:sldId id="256" r:id="rId12"/>
    <p:sldId id="2147472846" r:id="rId13"/>
    <p:sldId id="2147472845" r:id="rId14"/>
    <p:sldId id="2147472854" r:id="rId15"/>
    <p:sldId id="4250" r:id="rId16"/>
    <p:sldId id="2147475405" r:id="rId17"/>
    <p:sldId id="2147472997" r:id="rId18"/>
    <p:sldId id="2147473070" r:id="rId19"/>
    <p:sldId id="2147472847" r:id="rId20"/>
    <p:sldId id="2147473016" r:id="rId21"/>
    <p:sldId id="2147197849" r:id="rId22"/>
    <p:sldId id="2147472848" r:id="rId23"/>
    <p:sldId id="2147472861" r:id="rId24"/>
    <p:sldId id="2147472860" r:id="rId25"/>
    <p:sldId id="2147472836" r:id="rId26"/>
    <p:sldId id="2147472855" r:id="rId27"/>
    <p:sldId id="2147197293" r:id="rId28"/>
    <p:sldId id="2147472859" r:id="rId29"/>
    <p:sldId id="2147472856" r:id="rId30"/>
    <p:sldId id="2147475404" r:id="rId31"/>
    <p:sldId id="2147197338" r:id="rId32"/>
    <p:sldId id="2147472837" r:id="rId33"/>
    <p:sldId id="2147472838" r:id="rId34"/>
    <p:sldId id="2147472857" r:id="rId35"/>
    <p:sldId id="2147197282" r:id="rId36"/>
    <p:sldId id="2147472858" r:id="rId37"/>
    <p:sldId id="2147473010" r:id="rId38"/>
    <p:sldId id="2147473025" r:id="rId39"/>
    <p:sldId id="2147473017" r:id="rId40"/>
    <p:sldId id="2147473020" r:id="rId41"/>
    <p:sldId id="2147473021" r:id="rId42"/>
    <p:sldId id="2147473024" r:id="rId43"/>
    <p:sldId id="2147473022" r:id="rId44"/>
    <p:sldId id="2147472853" r:id="rId45"/>
    <p:sldId id="259" r:id="rId46"/>
    <p:sldId id="2147472842" r:id="rId47"/>
    <p:sldId id="2147472843" r:id="rId48"/>
    <p:sldId id="2147473015" r:id="rId49"/>
  </p:sldIdLst>
  <p:sldSz cx="12192000" cy="6858000"/>
  <p:notesSz cx="6858000" cy="9144000"/>
  <p:custDataLst>
    <p:tags r:id="rId51"/>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1FA10D-510A-FD33-E701-F7E76C6D69FF}" name="Bergljot Prebensen" initials="BP" userId="S::bergljot.prebensen@bulk.no::02bd2e68-0b5e-435d-9c68-f235f1319e2c" providerId="AD"/>
  <p188:author id="{731B951F-5D03-AA83-861A-CA6C3AE8E776}" name="Merete Caubet" initials="MC" userId="S::Merete.Caubet@bulk.no::3ff8ef42-e0a4-4f11-aee0-28b0646ea7c8" providerId="AD"/>
  <p188:author id="{B55C5A4A-24BC-A50F-02B1-EDC2C32851A9}" name="Stine Bjønnstu Holthe" initials="SBH" userId="S::stine.holthe@bulk.no::a5961b78-1fd7-4bfa-95ad-9aea3cc86257" providerId="AD"/>
  <p188:author id="{C6E8E8C2-7B8A-42C5-9FF9-575900C28246}" name="Peder Naerboe (Nærbø)" initials="P(" userId="S::peder.naerbo@bulk.no::98ff53c5-3b42-4a7e-8fcc-cf01ba80f5bc" providerId="AD"/>
  <p188:author id="{69FE2DCA-D661-269A-87F8-B42D272D80D9}" name="Merete Caubet" initials="MC" userId="S::merete.caubet@bulk.no::3ff8ef42-e0a4-4f11-aee0-28b0646ea7c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4657"/>
    <a:srgbClr val="F2F2F2"/>
    <a:srgbClr val="002B2B"/>
    <a:srgbClr val="1C2C3C"/>
    <a:srgbClr val="8AA4B2"/>
    <a:srgbClr val="D9D9D9"/>
    <a:srgbClr val="0041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6A6CFF-CF43-45F5-BE3A-D2FB5D4687C0}" v="1" dt="2026-01-17T17:37:12.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384" autoAdjust="0"/>
  </p:normalViewPr>
  <p:slideViewPr>
    <p:cSldViewPr snapToGrid="0">
      <p:cViewPr varScale="1">
        <p:scale>
          <a:sx n="115" d="100"/>
          <a:sy n="115" d="100"/>
        </p:scale>
        <p:origin x="920" y="200"/>
      </p:cViewPr>
      <p:guideLst/>
    </p:cSldViewPr>
  </p:slideViewPr>
  <p:notesTextViewPr>
    <p:cViewPr>
      <p:scale>
        <a:sx n="1" d="1"/>
        <a:sy n="1" d="1"/>
      </p:scale>
      <p:origin x="0" y="0"/>
    </p:cViewPr>
  </p:notesTextViewPr>
  <p:sorterViewPr>
    <p:cViewPr>
      <p:scale>
        <a:sx n="100" d="100"/>
        <a:sy n="100" d="100"/>
      </p:scale>
      <p:origin x="0" y="-80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608695652173914E-2"/>
          <c:y val="2.7987082884822389E-2"/>
          <c:w val="0.95478260869565212"/>
          <c:h val="0.94402583423035524"/>
        </c:manualLayout>
      </c:layout>
      <c:barChart>
        <c:barDir val="col"/>
        <c:grouping val="stacked"/>
        <c:varyColors val="0"/>
        <c:ser>
          <c:idx val="0"/>
          <c:order val="0"/>
          <c:spPr>
            <a:solidFill>
              <a:srgbClr val="76B900"/>
            </a:solidFill>
            <a:ln>
              <a:noFill/>
            </a:ln>
          </c:spPr>
          <c:invertIfNegative val="0"/>
          <c:val>
            <c:numRef>
              <c:f>Sheet1!$A$1:$D$1</c:f>
              <c:numCache>
                <c:formatCode>General</c:formatCode>
                <c:ptCount val="4"/>
                <c:pt idx="0">
                  <c:v>3750</c:v>
                </c:pt>
                <c:pt idx="1">
                  <c:v>4284</c:v>
                </c:pt>
                <c:pt idx="2">
                  <c:v>22600</c:v>
                </c:pt>
                <c:pt idx="3">
                  <c:v>39112</c:v>
                </c:pt>
              </c:numCache>
            </c:numRef>
          </c:val>
          <c:extLst>
            <c:ext xmlns:c16="http://schemas.microsoft.com/office/drawing/2014/chart" uri="{C3380CC4-5D6E-409C-BE32-E72D297353CC}">
              <c16:uniqueId val="{00000000-2075-426A-9E9B-826E09E94D58}"/>
            </c:ext>
          </c:extLst>
        </c:ser>
        <c:dLbls>
          <c:showLegendKey val="0"/>
          <c:showVal val="0"/>
          <c:showCatName val="0"/>
          <c:showSerName val="0"/>
          <c:showPercent val="0"/>
          <c:showBubbleSize val="0"/>
        </c:dLbls>
        <c:gapWidth val="80"/>
        <c:overlap val="100"/>
        <c:axId val="1710153936"/>
        <c:axId val="1"/>
      </c:barChart>
      <c:catAx>
        <c:axId val="1710153936"/>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39112"/>
          <c:min val="0"/>
        </c:scaling>
        <c:delete val="1"/>
        <c:axPos val="l"/>
        <c:numFmt formatCode="General" sourceLinked="1"/>
        <c:majorTickMark val="out"/>
        <c:minorTickMark val="none"/>
        <c:tickLblPos val="nextTo"/>
        <c:crossAx val="171015393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10822510822513E-2"/>
          <c:y val="0.1022332506203474"/>
          <c:w val="0.95497835497835493"/>
          <c:h val="0.82729528535980146"/>
        </c:manualLayout>
      </c:layout>
      <c:barChart>
        <c:barDir val="col"/>
        <c:grouping val="stacked"/>
        <c:varyColors val="0"/>
        <c:ser>
          <c:idx val="0"/>
          <c:order val="0"/>
          <c:spPr>
            <a:solidFill>
              <a:srgbClr val="169590"/>
            </a:solidFill>
            <a:ln>
              <a:noFill/>
            </a:ln>
          </c:spPr>
          <c:invertIfNegative val="0"/>
          <c:dPt>
            <c:idx val="0"/>
            <c:invertIfNegative val="0"/>
            <c:bubble3D val="0"/>
            <c:spPr>
              <a:solidFill>
                <a:srgbClr val="91A5B9"/>
              </a:solidFill>
              <a:ln>
                <a:noFill/>
              </a:ln>
            </c:spPr>
            <c:extLst>
              <c:ext xmlns:c16="http://schemas.microsoft.com/office/drawing/2014/chart" uri="{C3380CC4-5D6E-409C-BE32-E72D297353CC}">
                <c16:uniqueId val="{00000000-0D06-4BF5-B442-1DDC050AAA07}"/>
              </c:ext>
            </c:extLst>
          </c:dPt>
          <c:dPt>
            <c:idx val="1"/>
            <c:invertIfNegative val="0"/>
            <c:bubble3D val="0"/>
            <c:spPr>
              <a:solidFill>
                <a:srgbClr val="91A5B9"/>
              </a:solidFill>
              <a:ln>
                <a:noFill/>
              </a:ln>
            </c:spPr>
            <c:extLst>
              <c:ext xmlns:c16="http://schemas.microsoft.com/office/drawing/2014/chart" uri="{C3380CC4-5D6E-409C-BE32-E72D297353CC}">
                <c16:uniqueId val="{00000001-0D06-4BF5-B442-1DDC050AAA07}"/>
              </c:ext>
            </c:extLst>
          </c:dPt>
          <c:dPt>
            <c:idx val="2"/>
            <c:invertIfNegative val="0"/>
            <c:bubble3D val="0"/>
            <c:spPr>
              <a:solidFill>
                <a:srgbClr val="91A5B9"/>
              </a:solidFill>
              <a:ln>
                <a:noFill/>
              </a:ln>
            </c:spPr>
            <c:extLst>
              <c:ext xmlns:c16="http://schemas.microsoft.com/office/drawing/2014/chart" uri="{C3380CC4-5D6E-409C-BE32-E72D297353CC}">
                <c16:uniqueId val="{00000002-0D06-4BF5-B442-1DDC050AAA07}"/>
              </c:ext>
            </c:extLst>
          </c:dPt>
          <c:dPt>
            <c:idx val="3"/>
            <c:invertIfNegative val="0"/>
            <c:bubble3D val="0"/>
            <c:spPr>
              <a:solidFill>
                <a:srgbClr val="91A5B9"/>
              </a:solidFill>
              <a:ln>
                <a:noFill/>
              </a:ln>
            </c:spPr>
            <c:extLst>
              <c:ext xmlns:c16="http://schemas.microsoft.com/office/drawing/2014/chart" uri="{C3380CC4-5D6E-409C-BE32-E72D297353CC}">
                <c16:uniqueId val="{00000003-0D06-4BF5-B442-1DDC050AAA07}"/>
              </c:ext>
            </c:extLst>
          </c:dPt>
          <c:dPt>
            <c:idx val="4"/>
            <c:invertIfNegative val="0"/>
            <c:bubble3D val="0"/>
            <c:spPr>
              <a:solidFill>
                <a:srgbClr val="91A5B9"/>
              </a:solidFill>
              <a:ln>
                <a:noFill/>
              </a:ln>
            </c:spPr>
            <c:extLst>
              <c:ext xmlns:c16="http://schemas.microsoft.com/office/drawing/2014/chart" uri="{C3380CC4-5D6E-409C-BE32-E72D297353CC}">
                <c16:uniqueId val="{00000004-0D06-4BF5-B442-1DDC050AAA07}"/>
              </c:ext>
            </c:extLst>
          </c:dPt>
          <c:dPt>
            <c:idx val="12"/>
            <c:invertIfNegative val="0"/>
            <c:bubble3D val="0"/>
            <c:spPr>
              <a:solidFill>
                <a:schemeClr val="accent4"/>
              </a:solidFill>
              <a:ln>
                <a:noFill/>
              </a:ln>
            </c:spPr>
            <c:extLst>
              <c:ext xmlns:c16="http://schemas.microsoft.com/office/drawing/2014/chart" uri="{C3380CC4-5D6E-409C-BE32-E72D297353CC}">
                <c16:uniqueId val="{00000005-0D06-4BF5-B442-1DDC050AAA07}"/>
              </c:ext>
            </c:extLst>
          </c:dPt>
          <c:dPt>
            <c:idx val="13"/>
            <c:invertIfNegative val="0"/>
            <c:bubble3D val="0"/>
            <c:spPr>
              <a:solidFill>
                <a:schemeClr val="accent4"/>
              </a:solidFill>
              <a:ln>
                <a:noFill/>
              </a:ln>
            </c:spPr>
            <c:extLst>
              <c:ext xmlns:c16="http://schemas.microsoft.com/office/drawing/2014/chart" uri="{C3380CC4-5D6E-409C-BE32-E72D297353CC}">
                <c16:uniqueId val="{00000006-0D06-4BF5-B442-1DDC050AAA07}"/>
              </c:ext>
            </c:extLst>
          </c:dPt>
          <c:dPt>
            <c:idx val="14"/>
            <c:invertIfNegative val="0"/>
            <c:bubble3D val="0"/>
            <c:spPr>
              <a:solidFill>
                <a:schemeClr val="accent4"/>
              </a:solidFill>
              <a:ln>
                <a:noFill/>
              </a:ln>
            </c:spPr>
            <c:extLst>
              <c:ext xmlns:c16="http://schemas.microsoft.com/office/drawing/2014/chart" uri="{C3380CC4-5D6E-409C-BE32-E72D297353CC}">
                <c16:uniqueId val="{00000007-0D06-4BF5-B442-1DDC050AAA07}"/>
              </c:ext>
            </c:extLst>
          </c:dPt>
          <c:dPt>
            <c:idx val="16"/>
            <c:invertIfNegative val="0"/>
            <c:bubble3D val="0"/>
            <c:spPr>
              <a:solidFill>
                <a:schemeClr val="accent4"/>
              </a:solidFill>
              <a:ln>
                <a:noFill/>
              </a:ln>
            </c:spPr>
            <c:extLst>
              <c:ext xmlns:c16="http://schemas.microsoft.com/office/drawing/2014/chart" uri="{C3380CC4-5D6E-409C-BE32-E72D297353CC}">
                <c16:uniqueId val="{00000008-0D06-4BF5-B442-1DDC050AAA07}"/>
              </c:ext>
            </c:extLst>
          </c:dPt>
          <c:dLbls>
            <c:dLbl>
              <c:idx val="0"/>
              <c:layout>
                <c:manualLayout>
                  <c:x val="0"/>
                  <c:y val="-3.3746898263027299E-2"/>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06-4BF5-B442-1DDC050AAA07}"/>
                </c:ext>
              </c:extLst>
            </c:dLbl>
            <c:dLbl>
              <c:idx val="14"/>
              <c:layout>
                <c:manualLayout>
                  <c:x val="0"/>
                  <c:y val="-0.21935483870967742"/>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06-4BF5-B442-1DDC050AAA07}"/>
                </c:ext>
              </c:extLst>
            </c:dLbl>
            <c:dLbl>
              <c:idx val="16"/>
              <c:layout>
                <c:manualLayout>
                  <c:x val="0"/>
                  <c:y val="-0.445657568238213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D06-4BF5-B442-1DDC050AAA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Q$1</c:f>
              <c:numCache>
                <c:formatCode>General</c:formatCode>
                <c:ptCount val="17"/>
                <c:pt idx="0">
                  <c:v>2</c:v>
                </c:pt>
                <c:pt idx="1">
                  <c:v>5</c:v>
                </c:pt>
                <c:pt idx="2">
                  <c:v>6.5</c:v>
                </c:pt>
                <c:pt idx="3">
                  <c:v>9</c:v>
                </c:pt>
                <c:pt idx="4">
                  <c:v>12.5</c:v>
                </c:pt>
                <c:pt idx="5">
                  <c:v>15.5</c:v>
                </c:pt>
                <c:pt idx="6">
                  <c:v>18</c:v>
                </c:pt>
                <c:pt idx="7">
                  <c:v>26</c:v>
                </c:pt>
                <c:pt idx="8">
                  <c:v>33</c:v>
                </c:pt>
                <c:pt idx="9">
                  <c:v>41</c:v>
                </c:pt>
                <c:pt idx="10">
                  <c:v>64.2</c:v>
                </c:pt>
                <c:pt idx="11">
                  <c:v>79</c:v>
                </c:pt>
                <c:pt idx="12">
                  <c:v>97</c:v>
                </c:pt>
                <c:pt idx="13">
                  <c:v>144</c:v>
                </c:pt>
                <c:pt idx="14">
                  <c:v>178.8</c:v>
                </c:pt>
                <c:pt idx="16">
                  <c:v>394</c:v>
                </c:pt>
              </c:numCache>
            </c:numRef>
          </c:val>
          <c:extLst>
            <c:ext xmlns:c16="http://schemas.microsoft.com/office/drawing/2014/chart" uri="{C3380CC4-5D6E-409C-BE32-E72D297353CC}">
              <c16:uniqueId val="{00000009-0D06-4BF5-B442-1DDC050AAA07}"/>
            </c:ext>
          </c:extLst>
        </c:ser>
        <c:dLbls>
          <c:showLegendKey val="0"/>
          <c:showVal val="0"/>
          <c:showCatName val="0"/>
          <c:showSerName val="0"/>
          <c:showPercent val="0"/>
          <c:showBubbleSize val="0"/>
        </c:dLbls>
        <c:gapWidth val="80"/>
        <c:overlap val="100"/>
        <c:axId val="1536969759"/>
        <c:axId val="1"/>
      </c:barChart>
      <c:catAx>
        <c:axId val="1536969759"/>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394"/>
          <c:min val="0"/>
        </c:scaling>
        <c:delete val="1"/>
        <c:axPos val="l"/>
        <c:numFmt formatCode="General" sourceLinked="1"/>
        <c:majorTickMark val="out"/>
        <c:minorTickMark val="none"/>
        <c:tickLblPos val="nextTo"/>
        <c:crossAx val="153696975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01081782778019E-2"/>
          <c:y val="2.6804123711340205E-2"/>
          <c:w val="0.95499783643444391"/>
          <c:h val="0.94639175257731956"/>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1</c:v>
                </c:pt>
                <c:pt idx="1">
                  <c:v>10</c:v>
                </c:pt>
                <c:pt idx="2">
                  <c:v>50</c:v>
                </c:pt>
                <c:pt idx="3">
                  <c:v>107.87309048178577</c:v>
                </c:pt>
              </c:numCache>
            </c:numRef>
          </c:val>
          <c:extLst>
            <c:ext xmlns:c16="http://schemas.microsoft.com/office/drawing/2014/chart" uri="{C3380CC4-5D6E-409C-BE32-E72D297353CC}">
              <c16:uniqueId val="{00000000-D89C-48B5-BBFF-45481EE68A04}"/>
            </c:ext>
          </c:extLst>
        </c:ser>
        <c:dLbls>
          <c:showLegendKey val="0"/>
          <c:showVal val="0"/>
          <c:showCatName val="0"/>
          <c:showSerName val="0"/>
          <c:showPercent val="0"/>
          <c:showBubbleSize val="0"/>
        </c:dLbls>
        <c:gapWidth val="80"/>
        <c:overlap val="100"/>
        <c:axId val="1305096175"/>
        <c:axId val="1"/>
      </c:barChart>
      <c:catAx>
        <c:axId val="1305096175"/>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107.87309048178577"/>
          <c:min val="0"/>
        </c:scaling>
        <c:delete val="1"/>
        <c:axPos val="l"/>
        <c:numFmt formatCode="General" sourceLinked="1"/>
        <c:majorTickMark val="out"/>
        <c:minorTickMark val="none"/>
        <c:tickLblPos val="nextTo"/>
        <c:crossAx val="130509617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Ark1'!$B$1</c:f>
              <c:strCache>
                <c:ptCount val="1"/>
                <c:pt idx="0">
                  <c:v>Fee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D5-4B77-817F-90ECAB46A24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D5-4B77-817F-90ECAB46A24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2D5-4B77-817F-90ECAB46A24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2D5-4B77-817F-90ECAB46A24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2D5-4B77-817F-90ECAB46A24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2D5-4B77-817F-90ECAB46A24B}"/>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42D5-4B77-817F-90ECAB46A24B}"/>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42D5-4B77-817F-90ECAB46A24B}"/>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42D5-4B77-817F-90ECAB46A24B}"/>
              </c:ext>
            </c:extLst>
          </c:dPt>
          <c:cat>
            <c:strRef>
              <c:f>'Ark1'!$A$2:$A$7</c:f>
              <c:strCache>
                <c:ptCount val="6"/>
                <c:pt idx="0">
                  <c:v>Dietary supplements</c:v>
                </c:pt>
                <c:pt idx="1">
                  <c:v>Vegetable oil</c:v>
                </c:pt>
                <c:pt idx="2">
                  <c:v>Wheat, corn, beans etc</c:v>
                </c:pt>
                <c:pt idx="3">
                  <c:v>Soy</c:v>
                </c:pt>
                <c:pt idx="4">
                  <c:v>Fish/algea oil</c:v>
                </c:pt>
                <c:pt idx="5">
                  <c:v>Fishmeal </c:v>
                </c:pt>
              </c:strCache>
            </c:strRef>
          </c:cat>
          <c:val>
            <c:numRef>
              <c:f>'Ark1'!$B$2:$B$7</c:f>
              <c:numCache>
                <c:formatCode>General</c:formatCode>
                <c:ptCount val="6"/>
                <c:pt idx="0">
                  <c:v>6.5</c:v>
                </c:pt>
                <c:pt idx="1">
                  <c:v>20</c:v>
                </c:pt>
                <c:pt idx="2">
                  <c:v>30.4</c:v>
                </c:pt>
                <c:pt idx="3">
                  <c:v>13.5</c:v>
                </c:pt>
                <c:pt idx="4">
                  <c:v>11.4</c:v>
                </c:pt>
                <c:pt idx="5">
                  <c:v>18.100000000000001</c:v>
                </c:pt>
              </c:numCache>
            </c:numRef>
          </c:val>
          <c:extLst>
            <c:ext xmlns:c16="http://schemas.microsoft.com/office/drawing/2014/chart" uri="{C3380CC4-5D6E-409C-BE32-E72D297353CC}">
              <c16:uniqueId val="{00000012-42D5-4B77-817F-90ECAB46A24B}"/>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AEAC952-563A-0BCB-93EA-626142A32CF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F3C4E8F9-A125-3ED0-86D3-2F7623DFA8C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D3DAD117-21A6-4CD2-B8FF-CACCAE3623DA}" type="datetimeFigureOut">
              <a:rPr lang="en-US"/>
              <a:pPr>
                <a:defRPr/>
              </a:pPr>
              <a:t>1/18/26</a:t>
            </a:fld>
            <a:endParaRPr lang="en-US"/>
          </a:p>
        </p:txBody>
      </p:sp>
      <p:sp>
        <p:nvSpPr>
          <p:cNvPr id="4" name="Slide Image Placeholder 3">
            <a:extLst>
              <a:ext uri="{FF2B5EF4-FFF2-40B4-BE49-F238E27FC236}">
                <a16:creationId xmlns:a16="http://schemas.microsoft.com/office/drawing/2014/main" id="{D3E73BCE-6AFF-4893-E069-366A30B9FFB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5E4FC045-1E14-C512-AD54-B67037C4B56C}"/>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632692F0-2153-2C95-31EA-C67096DD4FFA}"/>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E04E2C99-EF4F-4C8C-EA09-0FCB57B1D0CF}"/>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953D4169-02C8-444A-A0D4-F78ACBC46661}"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nofima.brage.unit.no/nofima-xmlui/bitstream/handle/11250/2428846/Rapport+67-2016.pdf?sequence=1"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3130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2817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How </a:t>
            </a:r>
            <a:r>
              <a:rPr lang="nb-NO" b="1" dirty="0" err="1"/>
              <a:t>we</a:t>
            </a:r>
            <a:r>
              <a:rPr lang="nb-NO" b="1" dirty="0"/>
              <a:t> </a:t>
            </a:r>
            <a:r>
              <a:rPr lang="nb-NO" b="1" dirty="0" err="1"/>
              <a:t>see</a:t>
            </a:r>
            <a:r>
              <a:rPr lang="nb-NO" b="1" dirty="0"/>
              <a:t> </a:t>
            </a:r>
            <a:r>
              <a:rPr lang="nb-NO" b="1" dirty="0" err="1"/>
              <a:t>the</a:t>
            </a:r>
            <a:r>
              <a:rPr lang="nb-NO" b="1" dirty="0"/>
              <a:t> </a:t>
            </a:r>
            <a:r>
              <a:rPr lang="nb-NO" b="1" dirty="0" err="1"/>
              <a:t>world</a:t>
            </a:r>
            <a:r>
              <a:rPr lang="nb-NO" b="1" dirty="0"/>
              <a:t> </a:t>
            </a:r>
            <a:r>
              <a:rPr lang="nb-NO" b="1" dirty="0" err="1"/>
              <a:t>Through</a:t>
            </a:r>
            <a:r>
              <a:rPr lang="nb-NO" b="1" dirty="0"/>
              <a:t> </a:t>
            </a:r>
            <a:r>
              <a:rPr lang="nb-NO" b="1" dirty="0" err="1"/>
              <a:t>energy</a:t>
            </a:r>
            <a:r>
              <a:rPr lang="nb-NO" b="1" dirty="0"/>
              <a:t> </a:t>
            </a:r>
            <a:r>
              <a:rPr lang="nb-NO" b="1" dirty="0" err="1"/>
              <a:t>carbon</a:t>
            </a:r>
            <a:r>
              <a:rPr lang="nb-NO" b="1" dirty="0"/>
              <a:t> </a:t>
            </a:r>
            <a:r>
              <a:rPr lang="nb-NO" b="1" dirty="0" err="1"/>
              <a:t>emmission</a:t>
            </a:r>
            <a:r>
              <a:rPr lang="nb-NO" b="1" dirty="0"/>
              <a:t> – </a:t>
            </a:r>
            <a:r>
              <a:rPr lang="nb-NO" b="1" dirty="0" err="1"/>
              <a:t>Electricity</a:t>
            </a:r>
            <a:r>
              <a:rPr lang="nb-NO" b="1" dirty="0"/>
              <a:t> </a:t>
            </a:r>
            <a:r>
              <a:rPr lang="nb-NO" b="1" dirty="0" err="1"/>
              <a:t>Map</a:t>
            </a:r>
            <a:endParaRPr lang="nb-NO" b="1" dirty="0">
              <a:cs typeface="Calibri"/>
            </a:endParaRPr>
          </a:p>
          <a:p>
            <a:endParaRPr lang="nb-NO" dirty="0"/>
          </a:p>
          <a:p>
            <a:r>
              <a:rPr lang="nb-NO" dirty="0"/>
              <a:t>and </a:t>
            </a:r>
            <a:r>
              <a:rPr lang="nb-NO" dirty="0" err="1"/>
              <a:t>why</a:t>
            </a:r>
            <a:r>
              <a:rPr lang="nb-NO" dirty="0"/>
              <a:t> </a:t>
            </a:r>
            <a:r>
              <a:rPr lang="nb-NO" dirty="0" err="1"/>
              <a:t>we</a:t>
            </a:r>
            <a:r>
              <a:rPr lang="nb-NO" dirty="0"/>
              <a:t> </a:t>
            </a:r>
            <a:r>
              <a:rPr lang="nb-NO" dirty="0" err="1"/>
              <a:t>think</a:t>
            </a:r>
            <a:r>
              <a:rPr lang="nb-NO" dirty="0"/>
              <a:t> location is </a:t>
            </a:r>
            <a:r>
              <a:rPr lang="nb-NO" dirty="0" err="1"/>
              <a:t>the</a:t>
            </a:r>
            <a:r>
              <a:rPr lang="nb-NO" dirty="0"/>
              <a:t> most </a:t>
            </a:r>
            <a:r>
              <a:rPr lang="nb-NO" dirty="0" err="1"/>
              <a:t>important</a:t>
            </a:r>
            <a:r>
              <a:rPr lang="nb-NO" dirty="0"/>
              <a:t> </a:t>
            </a:r>
            <a:r>
              <a:rPr lang="nb-NO" dirty="0" err="1"/>
              <a:t>regarding</a:t>
            </a:r>
            <a:r>
              <a:rPr lang="nb-NO" dirty="0"/>
              <a:t> </a:t>
            </a:r>
            <a:r>
              <a:rPr lang="nb-NO" dirty="0" err="1"/>
              <a:t>sustainability</a:t>
            </a:r>
            <a:r>
              <a:rPr lang="nb-NO" dirty="0"/>
              <a:t> for digital </a:t>
            </a:r>
            <a:r>
              <a:rPr lang="nb-NO" dirty="0" err="1"/>
              <a:t>infrastructure</a:t>
            </a:r>
            <a:r>
              <a:rPr lang="nb-NO" dirty="0"/>
              <a:t> (data </a:t>
            </a:r>
            <a:r>
              <a:rPr lang="nb-NO" dirty="0" err="1"/>
              <a:t>processing</a:t>
            </a:r>
            <a:r>
              <a:rPr lang="nb-NO" dirty="0"/>
              <a:t> and </a:t>
            </a:r>
            <a:r>
              <a:rPr lang="nb-NO" dirty="0" err="1"/>
              <a:t>the</a:t>
            </a:r>
            <a:r>
              <a:rPr lang="nb-NO" dirty="0"/>
              <a:t> </a:t>
            </a:r>
            <a:r>
              <a:rPr lang="nb-NO" dirty="0" err="1"/>
              <a:t>digitalization</a:t>
            </a:r>
            <a:r>
              <a:rPr lang="nb-NO" dirty="0"/>
              <a:t> </a:t>
            </a:r>
            <a:r>
              <a:rPr lang="nb-NO" dirty="0" err="1"/>
              <a:t>of</a:t>
            </a:r>
            <a:r>
              <a:rPr lang="nb-NO" dirty="0"/>
              <a:t> </a:t>
            </a:r>
            <a:r>
              <a:rPr lang="nb-NO" dirty="0" err="1"/>
              <a:t>our</a:t>
            </a:r>
            <a:r>
              <a:rPr lang="nb-NO" dirty="0"/>
              <a:t> </a:t>
            </a:r>
            <a:r>
              <a:rPr lang="nb-NO" dirty="0" err="1"/>
              <a:t>society</a:t>
            </a:r>
            <a:r>
              <a:rPr lang="nb-NO" dirty="0"/>
              <a:t>)</a:t>
            </a:r>
            <a:endParaRPr lang="nb-NO" dirty="0">
              <a:cs typeface="Calibri"/>
            </a:endParaRPr>
          </a:p>
          <a:p>
            <a:endParaRPr lang="nb-NO" dirty="0">
              <a:cs typeface="Calibri"/>
            </a:endParaRPr>
          </a:p>
          <a:p>
            <a:r>
              <a:rPr lang="nb-NO" b="1" dirty="0" err="1">
                <a:cs typeface="Calibri"/>
              </a:rPr>
              <a:t>We</a:t>
            </a:r>
            <a:r>
              <a:rPr lang="nb-NO" b="1" dirty="0">
                <a:cs typeface="Calibri"/>
              </a:rPr>
              <a:t> </a:t>
            </a:r>
            <a:r>
              <a:rPr lang="nb-NO" b="1" dirty="0" err="1">
                <a:cs typeface="Calibri"/>
              </a:rPr>
              <a:t>started</a:t>
            </a:r>
            <a:r>
              <a:rPr lang="nb-NO" b="1" dirty="0">
                <a:cs typeface="Calibri"/>
              </a:rPr>
              <a:t> </a:t>
            </a:r>
            <a:r>
              <a:rPr lang="nb-NO" b="1" dirty="0" err="1">
                <a:cs typeface="Calibri"/>
              </a:rPr>
              <a:t>with</a:t>
            </a:r>
            <a:r>
              <a:rPr lang="nb-NO" b="1" dirty="0">
                <a:cs typeface="Calibri"/>
              </a:rPr>
              <a:t> a </a:t>
            </a:r>
            <a:r>
              <a:rPr lang="nb-NO" b="1" dirty="0" err="1">
                <a:cs typeface="Calibri"/>
              </a:rPr>
              <a:t>local</a:t>
            </a:r>
            <a:r>
              <a:rPr lang="nb-NO" b="1" dirty="0">
                <a:cs typeface="Calibri"/>
              </a:rPr>
              <a:t> </a:t>
            </a:r>
            <a:r>
              <a:rPr lang="nb-NO" b="1" dirty="0" err="1">
                <a:cs typeface="Calibri"/>
              </a:rPr>
              <a:t>environmental</a:t>
            </a:r>
            <a:r>
              <a:rPr lang="nb-NO" b="1" dirty="0">
                <a:cs typeface="Calibri"/>
              </a:rPr>
              <a:t> problem </a:t>
            </a:r>
            <a:r>
              <a:rPr lang="nb-NO" b="1" dirty="0" err="1">
                <a:cs typeface="Calibri"/>
              </a:rPr>
              <a:t>we</a:t>
            </a:r>
            <a:r>
              <a:rPr lang="nb-NO" b="1" dirty="0">
                <a:cs typeface="Calibri"/>
              </a:rPr>
              <a:t> </a:t>
            </a:r>
            <a:r>
              <a:rPr lang="nb-NO" b="1" dirty="0" err="1">
                <a:cs typeface="Calibri"/>
              </a:rPr>
              <a:t>wanted</a:t>
            </a:r>
            <a:r>
              <a:rPr lang="nb-NO" b="1" dirty="0">
                <a:cs typeface="Calibri"/>
              </a:rPr>
              <a:t> to </a:t>
            </a:r>
            <a:r>
              <a:rPr lang="nb-NO" b="1" dirty="0" err="1">
                <a:cs typeface="Calibri"/>
              </a:rPr>
              <a:t>fix</a:t>
            </a:r>
            <a:r>
              <a:rPr lang="nb-NO" b="1" dirty="0">
                <a:cs typeface="Calibri"/>
              </a:rPr>
              <a:t> </a:t>
            </a:r>
            <a:r>
              <a:rPr lang="nb-NO" dirty="0">
                <a:cs typeface="Calibri"/>
              </a:rPr>
              <a:t>– it lead to </a:t>
            </a:r>
            <a:r>
              <a:rPr lang="nb-NO" dirty="0" err="1">
                <a:cs typeface="Calibri"/>
              </a:rPr>
              <a:t>the</a:t>
            </a:r>
            <a:r>
              <a:rPr lang="nb-NO" dirty="0">
                <a:cs typeface="Calibri"/>
              </a:rPr>
              <a:t> DC and </a:t>
            </a:r>
            <a:r>
              <a:rPr lang="nb-NO" dirty="0" err="1">
                <a:cs typeface="Calibri"/>
              </a:rPr>
              <a:t>renewable</a:t>
            </a:r>
            <a:r>
              <a:rPr lang="nb-NO" dirty="0">
                <a:cs typeface="Calibri"/>
              </a:rPr>
              <a:t> </a:t>
            </a:r>
            <a:r>
              <a:rPr lang="nb-NO" dirty="0" err="1">
                <a:cs typeface="Calibri"/>
              </a:rPr>
              <a:t>energy</a:t>
            </a:r>
            <a:r>
              <a:rPr lang="nb-NO" dirty="0">
                <a:cs typeface="Calibri"/>
              </a:rPr>
              <a:t>.</a:t>
            </a:r>
          </a:p>
          <a:p>
            <a:endParaRPr lang="nb-NO" dirty="0">
              <a:cs typeface="Calibri"/>
            </a:endParaRPr>
          </a:p>
          <a:p>
            <a:r>
              <a:rPr lang="en-GB" dirty="0"/>
              <a:t>We see </a:t>
            </a:r>
            <a:r>
              <a:rPr lang="en-GB" b="1" dirty="0"/>
              <a:t>improved renewable energy production</a:t>
            </a:r>
            <a:r>
              <a:rPr lang="en-GB" dirty="0"/>
              <a:t> every year, however it is </a:t>
            </a:r>
            <a:r>
              <a:rPr lang="en-GB" b="1" dirty="0"/>
              <a:t>intermittent (not always on) </a:t>
            </a:r>
            <a:r>
              <a:rPr lang="en-GB" dirty="0"/>
              <a:t>sun, wind etc. Moving energy is a challenge. Storage, migrating loads</a:t>
            </a:r>
            <a:r>
              <a:rPr lang="en-GB" b="1" dirty="0"/>
              <a:t> Moving gigabytes instead of gigawatts</a:t>
            </a:r>
          </a:p>
          <a:p>
            <a:endParaRPr lang="en-GB" b="1" dirty="0">
              <a:cs typeface="Calibri"/>
            </a:endParaRPr>
          </a:p>
          <a:p>
            <a:r>
              <a:rPr lang="en-GB" dirty="0"/>
              <a:t>The N01 campus is located in southwest Norway, which is an area with 100% renewable and low-carbon production over the</a:t>
            </a:r>
            <a:r>
              <a:rPr lang="en-GB" b="1" dirty="0"/>
              <a:t> last 6 years</a:t>
            </a:r>
            <a:endParaRPr lang="en-GB" dirty="0"/>
          </a:p>
          <a:p>
            <a:endParaRPr lang="en-GB" dirty="0"/>
          </a:p>
          <a:p>
            <a:r>
              <a:rPr lang="en-GB" dirty="0"/>
              <a:t>The location has high grid resilience backed up by large over-capacity power generation, which leads to minimum run-on generators and backup solutions</a:t>
            </a:r>
            <a:endParaRPr lang="en-GB" dirty="0">
              <a:cs typeface="Calibri"/>
            </a:endParaRPr>
          </a:p>
          <a:p>
            <a:endParaRPr lang="en-GB" dirty="0">
              <a:cs typeface="Calibri"/>
            </a:endParaRPr>
          </a:p>
          <a:p>
            <a:r>
              <a:rPr lang="en-GB" dirty="0">
                <a:cs typeface="Calibri"/>
              </a:rPr>
              <a:t>We see improved sustainable energy production every year, however it is intermittent sun, wind etc. Moving large power loads in the grid gives a grid loss. Average 8-10%</a:t>
            </a:r>
          </a:p>
          <a:p>
            <a:endParaRPr lang="en-GB" b="1" dirty="0">
              <a:cs typeface="Calibri"/>
            </a:endParaRPr>
          </a:p>
          <a:p>
            <a:endParaRPr lang="en-GB" dirty="0">
              <a:cs typeface="Calibri"/>
            </a:endParaRPr>
          </a:p>
        </p:txBody>
      </p:sp>
      <p:sp>
        <p:nvSpPr>
          <p:cNvPr id="4" name="Plassholder for lysbildenummer 3"/>
          <p:cNvSpPr>
            <a:spLocks noGrp="1"/>
          </p:cNvSpPr>
          <p:nvPr>
            <p:ph type="sldNum" sz="quarter" idx="5"/>
          </p:nvPr>
        </p:nvSpPr>
        <p:spPr/>
        <p:txBody>
          <a:bodyPr/>
          <a:lstStyle/>
          <a:p>
            <a:pPr>
              <a:defRPr/>
            </a:pPr>
            <a:fld id="{953D4169-02C8-444A-A0D4-F78ACBC46661}" type="slidenum">
              <a:rPr lang="en-US" smtClean="0"/>
              <a:pPr>
                <a:defRPr/>
              </a:pPr>
              <a:t>13</a:t>
            </a:fld>
            <a:endParaRPr lang="en-US"/>
          </a:p>
        </p:txBody>
      </p:sp>
    </p:spTree>
    <p:extLst>
      <p:ext uri="{BB962C8B-B14F-4D97-AF65-F5344CB8AC3E}">
        <p14:creationId xmlns:p14="http://schemas.microsoft.com/office/powerpoint/2010/main" val="3721572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eaching the energy surplus by building fiber network to and from places with an energy abundance</a:t>
            </a:r>
          </a:p>
          <a:p>
            <a:endParaRPr lang="en-US">
              <a:cs typeface="Calibri"/>
            </a:endParaRPr>
          </a:p>
          <a:p>
            <a:r>
              <a:rPr lang="en-US">
                <a:cs typeface="Calibri"/>
              </a:rPr>
              <a:t> Move </a:t>
            </a:r>
            <a:r>
              <a:rPr lang="en-US" err="1">
                <a:cs typeface="Calibri"/>
              </a:rPr>
              <a:t>GigaBytes</a:t>
            </a:r>
            <a:r>
              <a:rPr lang="en-US">
                <a:cs typeface="Calibri"/>
              </a:rPr>
              <a:t> instead of </a:t>
            </a:r>
            <a:r>
              <a:rPr lang="en-US" err="1">
                <a:cs typeface="Calibri"/>
              </a:rPr>
              <a:t>GigaWatts</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953D4169-02C8-444A-A0D4-F78ACBC46661}" type="slidenum">
              <a:rPr lang="en-US"/>
              <a:pPr>
                <a:defRPr/>
              </a:pPr>
              <a:t>15</a:t>
            </a:fld>
            <a:endParaRPr lang="en-US"/>
          </a:p>
        </p:txBody>
      </p:sp>
    </p:spTree>
    <p:extLst>
      <p:ext uri="{BB962C8B-B14F-4D97-AF65-F5344CB8AC3E}">
        <p14:creationId xmlns:p14="http://schemas.microsoft.com/office/powerpoint/2010/main" val="907337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10444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e focus on minimizing and optimizing the use of resources: </a:t>
            </a:r>
          </a:p>
          <a:p>
            <a:pPr marL="171450" indent="-171450">
              <a:buFontTx/>
              <a:buChar char="-"/>
            </a:pPr>
            <a:r>
              <a:rPr lang="en-US" noProof="0" dirty="0"/>
              <a:t>Climate mitigation and adaptation</a:t>
            </a:r>
          </a:p>
          <a:p>
            <a:pPr marL="171450" indent="-171450">
              <a:buFontTx/>
              <a:buChar char="-"/>
            </a:pPr>
            <a:r>
              <a:rPr lang="en-US" noProof="0" dirty="0"/>
              <a:t>Energy optimization</a:t>
            </a:r>
          </a:p>
          <a:p>
            <a:pPr marL="171450" indent="-171450">
              <a:buFontTx/>
              <a:buChar char="-"/>
            </a:pPr>
            <a:r>
              <a:rPr lang="en-US" noProof="0" dirty="0"/>
              <a:t>Protection of nature</a:t>
            </a:r>
          </a:p>
          <a:p>
            <a:pPr marL="171450" indent="-171450">
              <a:buFontTx/>
              <a:buChar char="-"/>
            </a:pPr>
            <a:r>
              <a:rPr lang="en-US" noProof="0" dirty="0"/>
              <a:t>Material management the Asset</a:t>
            </a:r>
            <a:r>
              <a:rPr lang="en-US" dirty="0"/>
              <a:t> </a:t>
            </a:r>
            <a:r>
              <a:rPr lang="en-US" dirty="0" err="1"/>
              <a:t>Realestate</a:t>
            </a:r>
            <a:r>
              <a:rPr lang="en-US" dirty="0"/>
              <a:t> (</a:t>
            </a:r>
            <a:r>
              <a:rPr lang="en-US" b="1" dirty="0"/>
              <a:t>buildings, land preparations and fiber cable build</a:t>
            </a:r>
            <a:r>
              <a:rPr lang="en-US" b="1" noProof="0" dirty="0"/>
              <a:t> </a:t>
            </a:r>
            <a:r>
              <a:rPr lang="en-US" b="1" dirty="0"/>
              <a:t>and production</a:t>
            </a:r>
            <a:r>
              <a:rPr lang="en-US" dirty="0"/>
              <a:t>) - </a:t>
            </a:r>
            <a:r>
              <a:rPr lang="en-US" b="1" dirty="0"/>
              <a:t>Systematic work: Choices in projects</a:t>
            </a:r>
          </a:p>
          <a:p>
            <a:endParaRPr lang="en-US" dirty="0"/>
          </a:p>
          <a:p>
            <a:r>
              <a:rPr lang="en-US" noProof="0" dirty="0"/>
              <a:t>– where we zoom in on our product and how we </a:t>
            </a:r>
            <a:r>
              <a:rPr lang="en-US" b="1" noProof="0" dirty="0"/>
              <a:t>systematic work</a:t>
            </a:r>
            <a:r>
              <a:rPr lang="en-US" noProof="0" dirty="0"/>
              <a:t> to maximize the positive effect of our products and minimize the negative footprint.</a:t>
            </a:r>
            <a:endParaRPr lang="en-US" dirty="0">
              <a:cs typeface="Calibri"/>
            </a:endParaRPr>
          </a:p>
          <a:p>
            <a:endParaRPr lang="en-US" noProof="0" dirty="0"/>
          </a:p>
          <a:p>
            <a:r>
              <a:rPr lang="en-US" noProof="0" dirty="0"/>
              <a:t>Example from our Industrial real estate, where we have worked to optimize our modular building from using LED-lighting to replace the steel construction with wood. </a:t>
            </a:r>
          </a:p>
          <a:p>
            <a:endParaRPr lang="en-US" noProof="0" dirty="0"/>
          </a:p>
          <a:p>
            <a:r>
              <a:rPr lang="en-US" noProof="0" dirty="0"/>
              <a:t>You need to find the </a:t>
            </a:r>
            <a:r>
              <a:rPr lang="en-US" b="1" noProof="0" dirty="0"/>
              <a:t>right balance between positive impact and profitability</a:t>
            </a:r>
            <a:r>
              <a:rPr lang="en-US" noProof="0" dirty="0"/>
              <a:t>, it must be competitive in the market in which you operate. ex. Bulk Woo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046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From words to action.</a:t>
            </a:r>
            <a:r>
              <a:rPr lang="en-US">
                <a:cs typeface="Calibri"/>
              </a:rPr>
              <a:t> This is a great example of working </a:t>
            </a:r>
            <a:r>
              <a:rPr lang="en-US" b="1">
                <a:cs typeface="Calibri"/>
              </a:rPr>
              <a:t>towards net zero emissions</a:t>
            </a:r>
            <a:r>
              <a:rPr lang="en-US">
                <a:cs typeface="Calibri"/>
              </a:rPr>
              <a:t>. Here we have avoided emissions by replacing steel construction with wood. (Scope 3 for Bulk, which we will come back to)</a:t>
            </a:r>
          </a:p>
          <a:p>
            <a:endParaRPr lang="en-US">
              <a:cs typeface="Calibri"/>
            </a:endParaRPr>
          </a:p>
          <a:p>
            <a:r>
              <a:rPr lang="en-US">
                <a:cs typeface="Calibri"/>
              </a:rPr>
              <a:t>We managed to do this with only 5 % increase in cost, and we found a tenant who was willing to pay for a more sustainable building.</a:t>
            </a:r>
            <a:r>
              <a:rPr lang="en-US"/>
              <a:t>. </a:t>
            </a:r>
            <a:br>
              <a:rPr lang="en-US">
                <a:cs typeface="+mn-lt"/>
              </a:rPr>
            </a:br>
            <a:endParaRPr lang="en-US">
              <a:cs typeface="Calibri"/>
            </a:endParaRPr>
          </a:p>
          <a:p>
            <a:pPr>
              <a:defRPr/>
            </a:pPr>
            <a:r>
              <a:rPr lang="en-US" err="1">
                <a:cs typeface="Calibri"/>
              </a:rPr>
              <a:t>Fotplater</a:t>
            </a:r>
            <a:r>
              <a:rPr lang="en-US">
                <a:cs typeface="Calibri"/>
              </a:rPr>
              <a:t>, </a:t>
            </a:r>
            <a:r>
              <a:rPr lang="en-US" err="1">
                <a:cs typeface="Calibri"/>
              </a:rPr>
              <a:t>vindkryss</a:t>
            </a:r>
            <a:r>
              <a:rPr lang="en-US">
                <a:cs typeface="Calibri"/>
              </a:rPr>
              <a:t> </a:t>
            </a:r>
            <a:r>
              <a:rPr lang="en-US" err="1">
                <a:cs typeface="Calibri"/>
              </a:rPr>
              <a:t>og</a:t>
            </a:r>
            <a:r>
              <a:rPr lang="en-US">
                <a:cs typeface="Calibri"/>
              </a:rPr>
              <a:t> </a:t>
            </a:r>
            <a:r>
              <a:rPr lang="en-US" err="1">
                <a:cs typeface="Calibri"/>
              </a:rPr>
              <a:t>knytepunkter</a:t>
            </a:r>
            <a:r>
              <a:rPr lang="en-US">
                <a:cs typeface="Calibri"/>
              </a:rPr>
              <a:t> </a:t>
            </a:r>
            <a:r>
              <a:rPr lang="en-US" err="1">
                <a:cs typeface="Calibri"/>
              </a:rPr>
              <a:t>i</a:t>
            </a:r>
            <a:r>
              <a:rPr lang="en-US">
                <a:cs typeface="Calibri"/>
              </a:rPr>
              <a:t> </a:t>
            </a:r>
            <a:r>
              <a:rPr lang="en-US" err="1">
                <a:cs typeface="Calibri"/>
              </a:rPr>
              <a:t>stål</a:t>
            </a:r>
            <a:r>
              <a:rPr lang="en-US">
                <a:cs typeface="Calibri"/>
              </a:rPr>
              <a:t> – det vi </a:t>
            </a:r>
            <a:r>
              <a:rPr lang="en-US" err="1">
                <a:cs typeface="Calibri"/>
              </a:rPr>
              <a:t>har</a:t>
            </a:r>
            <a:r>
              <a:rPr lang="en-US">
                <a:cs typeface="Calibri"/>
              </a:rPr>
              <a:t> sett er at </a:t>
            </a:r>
            <a:r>
              <a:rPr lang="en-US" err="1">
                <a:cs typeface="Calibri"/>
              </a:rPr>
              <a:t>disse</a:t>
            </a:r>
            <a:r>
              <a:rPr lang="en-US">
                <a:cs typeface="Calibri"/>
              </a:rPr>
              <a:t> </a:t>
            </a:r>
            <a:r>
              <a:rPr lang="en-US" err="1">
                <a:cs typeface="Calibri"/>
              </a:rPr>
              <a:t>delene</a:t>
            </a:r>
            <a:r>
              <a:rPr lang="en-US">
                <a:cs typeface="Calibri"/>
              </a:rPr>
              <a:t> </a:t>
            </a:r>
            <a:r>
              <a:rPr lang="en-US" err="1">
                <a:cs typeface="Calibri"/>
              </a:rPr>
              <a:t>utgjør</a:t>
            </a:r>
            <a:r>
              <a:rPr lang="en-US">
                <a:cs typeface="Calibri"/>
              </a:rPr>
              <a:t> 2/3 av </a:t>
            </a:r>
            <a:r>
              <a:rPr lang="en-US" err="1">
                <a:cs typeface="Calibri"/>
              </a:rPr>
              <a:t>klimagassutslippet</a:t>
            </a:r>
            <a:r>
              <a:rPr lang="en-US">
                <a:cs typeface="Calibri"/>
              </a:rPr>
              <a:t> </a:t>
            </a:r>
            <a:r>
              <a:rPr lang="en-US" err="1">
                <a:cs typeface="Calibri"/>
              </a:rPr>
              <a:t>til</a:t>
            </a:r>
            <a:r>
              <a:rPr lang="en-US">
                <a:cs typeface="Calibri"/>
              </a:rPr>
              <a:t> </a:t>
            </a:r>
            <a:r>
              <a:rPr lang="en-US" err="1">
                <a:cs typeface="Calibri"/>
              </a:rPr>
              <a:t>bæresystemet</a:t>
            </a:r>
            <a:r>
              <a:rPr lang="en-US">
                <a:cs typeface="Calibri"/>
              </a:rPr>
              <a:t>. </a:t>
            </a:r>
          </a:p>
          <a:p>
            <a:pPr defTabSz="486735">
              <a:defRPr/>
            </a:pPr>
            <a:endParaRPr lang="en-US"/>
          </a:p>
          <a:p>
            <a:r>
              <a:rPr lang="en-US"/>
              <a:t>Ved at vi </a:t>
            </a:r>
            <a:r>
              <a:rPr lang="en-US" err="1"/>
              <a:t>har</a:t>
            </a:r>
            <a:r>
              <a:rPr lang="en-US"/>
              <a:t> </a:t>
            </a:r>
            <a:r>
              <a:rPr lang="en-US" err="1"/>
              <a:t>valgt</a:t>
            </a:r>
            <a:r>
              <a:rPr lang="en-US"/>
              <a:t> </a:t>
            </a:r>
            <a:r>
              <a:rPr lang="en-US" err="1"/>
              <a:t>bærekonstruksjon</a:t>
            </a:r>
            <a:r>
              <a:rPr lang="en-US"/>
              <a:t> </a:t>
            </a:r>
            <a:r>
              <a:rPr lang="en-US" err="1"/>
              <a:t>i</a:t>
            </a:r>
            <a:r>
              <a:rPr lang="en-US"/>
              <a:t> </a:t>
            </a:r>
            <a:r>
              <a:rPr lang="en-US" err="1"/>
              <a:t>limtre</a:t>
            </a:r>
            <a:r>
              <a:rPr lang="en-US"/>
              <a:t> – </a:t>
            </a:r>
            <a:r>
              <a:rPr lang="en-US" err="1"/>
              <a:t>har</a:t>
            </a:r>
            <a:r>
              <a:rPr lang="en-US"/>
              <a:t> vi </a:t>
            </a:r>
            <a:r>
              <a:rPr lang="en-US" err="1"/>
              <a:t>redusert</a:t>
            </a:r>
            <a:r>
              <a:rPr lang="en-US"/>
              <a:t> </a:t>
            </a:r>
            <a:r>
              <a:rPr lang="en-US" err="1"/>
              <a:t>klimagassutslipp</a:t>
            </a:r>
            <a:r>
              <a:rPr lang="en-US"/>
              <a:t> med 165 000 kg Co2 </a:t>
            </a:r>
            <a:r>
              <a:rPr lang="en-US" err="1"/>
              <a:t>ekvivalenter</a:t>
            </a:r>
            <a:r>
              <a:rPr lang="en-US"/>
              <a:t>. </a:t>
            </a:r>
          </a:p>
          <a:p>
            <a:r>
              <a:rPr lang="en-US">
                <a:cs typeface="Calibri"/>
              </a:rPr>
              <a:t>Det </a:t>
            </a:r>
            <a:r>
              <a:rPr lang="en-US" err="1">
                <a:cs typeface="Calibri"/>
              </a:rPr>
              <a:t>høres</a:t>
            </a:r>
            <a:r>
              <a:rPr lang="en-US">
                <a:cs typeface="Calibri"/>
              </a:rPr>
              <a:t> </a:t>
            </a:r>
            <a:r>
              <a:rPr lang="en-US" err="1">
                <a:cs typeface="Calibri"/>
              </a:rPr>
              <a:t>ut</a:t>
            </a:r>
            <a:r>
              <a:rPr lang="en-US">
                <a:cs typeface="Calibri"/>
              </a:rPr>
              <a:t> </a:t>
            </a:r>
            <a:r>
              <a:rPr lang="en-US" err="1">
                <a:cs typeface="Calibri"/>
              </a:rPr>
              <a:t>som</a:t>
            </a:r>
            <a:r>
              <a:rPr lang="en-US">
                <a:cs typeface="Calibri"/>
              </a:rPr>
              <a:t> </a:t>
            </a:r>
            <a:r>
              <a:rPr lang="en-US" err="1">
                <a:cs typeface="Calibri"/>
              </a:rPr>
              <a:t>ett</a:t>
            </a:r>
            <a:r>
              <a:rPr lang="en-US">
                <a:cs typeface="Calibri"/>
              </a:rPr>
              <a:t> </a:t>
            </a:r>
            <a:r>
              <a:rPr lang="en-US" err="1">
                <a:cs typeface="Calibri"/>
              </a:rPr>
              <a:t>stort</a:t>
            </a:r>
            <a:r>
              <a:rPr lang="en-US">
                <a:cs typeface="Calibri"/>
              </a:rPr>
              <a:t> tall, men </a:t>
            </a:r>
            <a:r>
              <a:rPr lang="en-US" err="1">
                <a:cs typeface="Calibri"/>
              </a:rPr>
              <a:t>hva</a:t>
            </a:r>
            <a:r>
              <a:rPr lang="en-US">
                <a:cs typeface="Calibri"/>
              </a:rPr>
              <a:t> </a:t>
            </a:r>
            <a:r>
              <a:rPr lang="en-US" err="1">
                <a:cs typeface="Calibri"/>
              </a:rPr>
              <a:t>tilsvarer</a:t>
            </a:r>
            <a:r>
              <a:rPr lang="en-US">
                <a:cs typeface="Calibri"/>
              </a:rPr>
              <a:t> det </a:t>
            </a:r>
            <a:r>
              <a:rPr lang="en-US" err="1">
                <a:cs typeface="Calibri"/>
              </a:rPr>
              <a:t>egentlig</a:t>
            </a:r>
            <a:r>
              <a:rPr lang="en-US">
                <a:cs typeface="Calibri"/>
              </a:rPr>
              <a:t> – </a:t>
            </a:r>
            <a:r>
              <a:rPr lang="en-US" err="1">
                <a:cs typeface="Calibri"/>
              </a:rPr>
              <a:t>jeg</a:t>
            </a:r>
            <a:r>
              <a:rPr lang="en-US">
                <a:cs typeface="Calibri"/>
              </a:rPr>
              <a:t> </a:t>
            </a:r>
            <a:r>
              <a:rPr lang="en-US" err="1">
                <a:cs typeface="Calibri"/>
              </a:rPr>
              <a:t>ba</a:t>
            </a:r>
            <a:r>
              <a:rPr lang="en-US">
                <a:cs typeface="Calibri"/>
              </a:rPr>
              <a:t> </a:t>
            </a:r>
            <a:r>
              <a:rPr lang="en-US" err="1">
                <a:cs typeface="Calibri"/>
              </a:rPr>
              <a:t>ingeniørene</a:t>
            </a:r>
            <a:r>
              <a:rPr lang="en-US">
                <a:cs typeface="Calibri"/>
              </a:rPr>
              <a:t> </a:t>
            </a:r>
            <a:r>
              <a:rPr lang="en-US" err="1">
                <a:cs typeface="Calibri"/>
              </a:rPr>
              <a:t>våre</a:t>
            </a:r>
            <a:r>
              <a:rPr lang="en-US">
                <a:cs typeface="Calibri"/>
              </a:rPr>
              <a:t> </a:t>
            </a:r>
            <a:r>
              <a:rPr lang="en-US" err="1">
                <a:cs typeface="Calibri"/>
              </a:rPr>
              <a:t>eksemplifisere</a:t>
            </a:r>
            <a:r>
              <a:rPr lang="en-US">
                <a:cs typeface="Calibri"/>
              </a:rPr>
              <a:t>:  </a:t>
            </a:r>
            <a:endParaRPr lang="en-US">
              <a:ea typeface="+mn-ea"/>
              <a:cs typeface="Calibri"/>
            </a:endParaRPr>
          </a:p>
          <a:p>
            <a:r>
              <a:rPr lang="en-US">
                <a:ea typeface="+mn-ea"/>
                <a:cs typeface="Calibri"/>
              </a:rPr>
              <a:t>Det er det </a:t>
            </a:r>
            <a:r>
              <a:rPr lang="en-US" err="1">
                <a:ea typeface="+mn-ea"/>
                <a:cs typeface="Calibri"/>
              </a:rPr>
              <a:t>samme</a:t>
            </a:r>
            <a:r>
              <a:rPr lang="en-US">
                <a:ea typeface="+mn-ea"/>
                <a:cs typeface="Calibri"/>
              </a:rPr>
              <a:t> </a:t>
            </a:r>
            <a:r>
              <a:rPr lang="en-US" err="1">
                <a:ea typeface="+mn-ea"/>
                <a:cs typeface="Calibri"/>
              </a:rPr>
              <a:t>som</a:t>
            </a:r>
            <a:r>
              <a:rPr lang="en-US">
                <a:ea typeface="+mn-ea"/>
                <a:cs typeface="Calibri"/>
              </a:rPr>
              <a:t>: </a:t>
            </a:r>
            <a:r>
              <a:rPr lang="en-US">
                <a:ea typeface="Calibri"/>
                <a:cs typeface="+mn-lt"/>
              </a:rPr>
              <a:t> </a:t>
            </a:r>
          </a:p>
          <a:p>
            <a:pPr marL="91263" indent="-91263">
              <a:buFont typeface="Arial"/>
              <a:buChar char="•"/>
            </a:pPr>
            <a:r>
              <a:rPr lang="en-US">
                <a:cs typeface="Calibri" panose="020F0502020204030204"/>
              </a:rPr>
              <a:t>Eller </a:t>
            </a:r>
            <a:r>
              <a:rPr lang="en-US" err="1">
                <a:cs typeface="Calibri" panose="020F0502020204030204"/>
              </a:rPr>
              <a:t>produksjonen</a:t>
            </a:r>
            <a:r>
              <a:rPr lang="en-US">
                <a:cs typeface="Calibri" panose="020F0502020204030204"/>
              </a:rPr>
              <a:t> av </a:t>
            </a:r>
            <a:r>
              <a:rPr lang="en-US"/>
              <a:t>41 </a:t>
            </a:r>
            <a:r>
              <a:rPr lang="en-US" err="1"/>
              <a:t>tonn</a:t>
            </a:r>
            <a:r>
              <a:rPr lang="en-US"/>
              <a:t> </a:t>
            </a:r>
            <a:r>
              <a:rPr lang="en-US" err="1"/>
              <a:t>plast</a:t>
            </a:r>
            <a:endParaRPr lang="en-US">
              <a:cs typeface="Calibri" panose="020F0502020204030204"/>
            </a:endParaRPr>
          </a:p>
          <a:p>
            <a:pPr marL="91263" indent="-91263">
              <a:buFont typeface="Arial"/>
              <a:buChar char="•"/>
            </a:pPr>
            <a:r>
              <a:rPr lang="en-US" err="1"/>
              <a:t>Evt</a:t>
            </a:r>
            <a:r>
              <a:rPr lang="en-US"/>
              <a:t> </a:t>
            </a:r>
            <a:r>
              <a:rPr lang="en-US" err="1"/>
              <a:t>kan</a:t>
            </a:r>
            <a:r>
              <a:rPr lang="en-US"/>
              <a:t> man </a:t>
            </a:r>
            <a:r>
              <a:rPr lang="en-US" err="1"/>
              <a:t>kjøre</a:t>
            </a:r>
            <a:r>
              <a:rPr lang="en-US"/>
              <a:t> tur/</a:t>
            </a:r>
            <a:r>
              <a:rPr lang="en-US" err="1"/>
              <a:t>retur</a:t>
            </a:r>
            <a:r>
              <a:rPr lang="en-US"/>
              <a:t> Oslo- </a:t>
            </a:r>
            <a:r>
              <a:rPr lang="en-US" err="1"/>
              <a:t>Hemsedal</a:t>
            </a:r>
            <a:r>
              <a:rPr lang="en-US"/>
              <a:t> over 2000 ganger med </a:t>
            </a:r>
            <a:r>
              <a:rPr lang="en-US" err="1"/>
              <a:t>bensinbil</a:t>
            </a:r>
            <a:r>
              <a:rPr lang="en-US"/>
              <a:t> </a:t>
            </a:r>
            <a:endParaRPr lang="en-US">
              <a:cs typeface="Calibri" panose="020F0502020204030204"/>
            </a:endParaRPr>
          </a:p>
          <a:p>
            <a:endParaRPr lang="en-US">
              <a:cs typeface="Calibri" panose="020F0502020204030204"/>
            </a:endParaRPr>
          </a:p>
          <a:p>
            <a:endParaRPr lang="en-US">
              <a:cs typeface="Calibri" panose="020F0502020204030204"/>
            </a:endParaRPr>
          </a:p>
        </p:txBody>
      </p:sp>
      <p:sp>
        <p:nvSpPr>
          <p:cNvPr id="4" name="Slide Number Placeholder 3"/>
          <p:cNvSpPr>
            <a:spLocks noGrp="1"/>
          </p:cNvSpPr>
          <p:nvPr>
            <p:ph type="sldNum" sz="quarter" idx="5"/>
          </p:nvPr>
        </p:nvSpPr>
        <p:spPr/>
        <p:txBody>
          <a:bodyPr/>
          <a:lstStyle/>
          <a:p>
            <a:fld id="{002C5202-53E2-440B-9F60-E963C68D8F12}" type="slidenum">
              <a:rPr lang="en-US"/>
              <a:t>18</a:t>
            </a:fld>
            <a:endParaRPr lang="en-US"/>
          </a:p>
        </p:txBody>
      </p:sp>
    </p:spTree>
    <p:extLst>
      <p:ext uri="{BB962C8B-B14F-4D97-AF65-F5344CB8AC3E}">
        <p14:creationId xmlns:p14="http://schemas.microsoft.com/office/powerpoint/2010/main" val="3619536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1437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B708F-AC84-0E62-6CD6-A1180F61E4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64EA7A-D8E9-753A-CF45-C55D9A4463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D40764-05C2-EA7B-5F51-57AC4C14F4F4}"/>
              </a:ext>
            </a:extLst>
          </p:cNvPr>
          <p:cNvSpPr>
            <a:spLocks noGrp="1"/>
          </p:cNvSpPr>
          <p:nvPr>
            <p:ph type="body" idx="1"/>
          </p:nvPr>
        </p:nvSpPr>
        <p:spPr/>
        <p:txBody>
          <a:bodyPr/>
          <a:lstStyle/>
          <a:p>
            <a:r>
              <a:rPr lang="en-US" b="1" dirty="0">
                <a:cs typeface="Calibri"/>
              </a:rPr>
              <a:t>Why do you cut the threes? </a:t>
            </a:r>
            <a:r>
              <a:rPr lang="en-US" dirty="0">
                <a:cs typeface="Calibri"/>
              </a:rPr>
              <a:t>Embedded carbon in the nature trees, marsh-land (peat-land) terrestrial wetland ecosystem. </a:t>
            </a:r>
          </a:p>
          <a:p>
            <a:endParaRPr lang="en-US" b="1" dirty="0"/>
          </a:p>
          <a:p>
            <a:r>
              <a:rPr lang="en-US" b="1" noProof="0" dirty="0"/>
              <a:t>Significant impact can only be achieved by defining ourselves as part of a larger Ecosystem </a:t>
            </a:r>
            <a:r>
              <a:rPr lang="en-US" noProof="0" dirty="0"/>
              <a:t>and cooperating with partners, customers, suppliers and employes to change the way we all operate. One example of an Ecosystem is to reuse the residual heat from the DC into another industry that use heat, or to district heating.</a:t>
            </a:r>
            <a:r>
              <a:rPr lang="en-US" dirty="0"/>
              <a:t> </a:t>
            </a:r>
            <a:endParaRPr lang="en-US" dirty="0">
              <a:cs typeface="Calibri" panose="020F0502020204030204"/>
            </a:endParaRPr>
          </a:p>
          <a:p>
            <a:endParaRPr lang="en-US" noProof="0" dirty="0"/>
          </a:p>
          <a:p>
            <a:r>
              <a:rPr lang="en-US" noProof="0" dirty="0"/>
              <a:t>Another eco system is the national grid, where DC with its UPS and </a:t>
            </a:r>
            <a:r>
              <a:rPr lang="en-US" noProof="0" dirty="0" err="1"/>
              <a:t>gen.sets</a:t>
            </a:r>
            <a:r>
              <a:rPr lang="en-US" noProof="0" dirty="0"/>
              <a:t> can contribute to the energy balance, and to balance the frequency of the grid, we see that with more wind and solar power, DC can help with balance of frequence and also with peak shaving. This can enable the green shift to go faster.</a:t>
            </a:r>
          </a:p>
          <a:p>
            <a:endParaRPr lang="en-GB" dirty="0"/>
          </a:p>
        </p:txBody>
      </p:sp>
      <p:sp>
        <p:nvSpPr>
          <p:cNvPr id="4" name="Slide Number Placeholder 3">
            <a:extLst>
              <a:ext uri="{FF2B5EF4-FFF2-40B4-BE49-F238E27FC236}">
                <a16:creationId xmlns:a16="http://schemas.microsoft.com/office/drawing/2014/main" id="{C2CA21B1-3C2F-76BA-5697-FCE5831389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183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cs typeface="Calibri"/>
              </a:rPr>
              <a:t>The </a:t>
            </a:r>
            <a:r>
              <a:rPr lang="nb-NO" dirty="0" err="1">
                <a:cs typeface="Calibri"/>
              </a:rPr>
              <a:t>exhaust</a:t>
            </a:r>
            <a:r>
              <a:rPr lang="nb-NO" dirty="0">
                <a:cs typeface="Calibri"/>
              </a:rPr>
              <a:t> from DCs </a:t>
            </a:r>
            <a:r>
              <a:rPr lang="nb-NO" dirty="0" err="1">
                <a:cs typeface="Calibri"/>
              </a:rPr>
              <a:t>are</a:t>
            </a:r>
            <a:r>
              <a:rPr lang="nb-NO" dirty="0">
                <a:cs typeface="Calibri"/>
              </a:rPr>
              <a:t> </a:t>
            </a:r>
            <a:r>
              <a:rPr lang="nb-NO" dirty="0" err="1">
                <a:cs typeface="Calibri"/>
              </a:rPr>
              <a:t>low</a:t>
            </a:r>
            <a:r>
              <a:rPr lang="nb-NO" dirty="0">
                <a:cs typeface="Calibri"/>
              </a:rPr>
              <a:t> grade heat (35-37 </a:t>
            </a:r>
            <a:r>
              <a:rPr lang="nb-NO" dirty="0" err="1">
                <a:cs typeface="Calibri"/>
              </a:rPr>
              <a:t>degrees</a:t>
            </a:r>
            <a:r>
              <a:rPr lang="nb-NO" dirty="0">
                <a:cs typeface="Calibri"/>
              </a:rPr>
              <a:t> </a:t>
            </a:r>
            <a:r>
              <a:rPr lang="nb-NO" dirty="0" err="1">
                <a:cs typeface="Calibri"/>
              </a:rPr>
              <a:t>celcius</a:t>
            </a:r>
            <a:r>
              <a:rPr lang="nb-NO" dirty="0">
                <a:cs typeface="Calibri"/>
              </a:rPr>
              <a:t>/95-100 </a:t>
            </a:r>
            <a:r>
              <a:rPr lang="nb-NO" dirty="0" err="1">
                <a:cs typeface="Calibri"/>
              </a:rPr>
              <a:t>degrees</a:t>
            </a:r>
            <a:r>
              <a:rPr lang="nb-NO" dirty="0">
                <a:cs typeface="Calibri"/>
              </a:rPr>
              <a:t> </a:t>
            </a:r>
            <a:r>
              <a:rPr lang="nb-NO" dirty="0" err="1">
                <a:cs typeface="Calibri"/>
              </a:rPr>
              <a:t>farenheit</a:t>
            </a:r>
            <a:r>
              <a:rPr lang="nb-NO" dirty="0">
                <a:cs typeface="Calibri"/>
              </a:rPr>
              <a:t>) Per nå 28 grader, AI opptil 50 grader</a:t>
            </a:r>
            <a:endParaRPr lang="nb-NO" dirty="0"/>
          </a:p>
          <a:p>
            <a:endParaRPr lang="nb-NO" dirty="0"/>
          </a:p>
          <a:p>
            <a:r>
              <a:rPr lang="nb-NO" dirty="0"/>
              <a:t>Eksempel på sirkulær alternativ protein produksjon med ølbrygging, alger og erter:</a:t>
            </a:r>
          </a:p>
          <a:p>
            <a:r>
              <a:rPr lang="nb-NO" dirty="0"/>
              <a:t>Mask etter ølbrygging utgjør </a:t>
            </a:r>
            <a:r>
              <a:rPr lang="nb-NO" dirty="0" err="1"/>
              <a:t>ca</a:t>
            </a:r>
            <a:r>
              <a:rPr lang="nb-NO" dirty="0"/>
              <a:t> 31 % av original maltvekt og i Norge blir totalsummen 17 000 tonn. </a:t>
            </a:r>
          </a:p>
          <a:p>
            <a:r>
              <a:rPr lang="nb-NO" dirty="0"/>
              <a:t>Mask omfatter rundt 85 % av de restprodukter som produseres ved ølbrygging. De øvrige </a:t>
            </a:r>
          </a:p>
          <a:p>
            <a:r>
              <a:rPr lang="nb-NO" dirty="0"/>
              <a:t>restproduktene er humle og gjær. I dag brukes mesteparten av masken som produseres i Norge til dyrefôr. Om vi summerer så blir det årlig totalt i Norge, fra møller og </a:t>
            </a:r>
            <a:r>
              <a:rPr lang="nb-NO" dirty="0" err="1"/>
              <a:t>ølproduksjon</a:t>
            </a:r>
            <a:r>
              <a:rPr lang="nb-NO" dirty="0"/>
              <a:t>, produsert 86 823 tonn </a:t>
            </a:r>
          </a:p>
          <a:p>
            <a:r>
              <a:rPr lang="nb-NO" dirty="0"/>
              <a:t>restråstoff, hvorav 61 000 tonn hvetekli, 7 500 tonn havreskall, 1 200 tonn </a:t>
            </a:r>
            <a:r>
              <a:rPr lang="nb-NO" dirty="0" err="1"/>
              <a:t>byggskall</a:t>
            </a:r>
            <a:r>
              <a:rPr lang="nb-NO" dirty="0"/>
              <a:t>, 123 tonn </a:t>
            </a:r>
          </a:p>
          <a:p>
            <a:r>
              <a:rPr lang="nb-NO" dirty="0"/>
              <a:t>speltskall og 17 000 tonn mask. </a:t>
            </a:r>
            <a:r>
              <a:rPr lang="fr-FR" dirty="0">
                <a:hlinkClick r:id="rId3"/>
              </a:rPr>
              <a:t>Rapport+67-2016.pdf (unit.no)</a:t>
            </a:r>
            <a:endParaRPr lang="en-GB"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123FA-8411-4885-A917-493AF6979B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327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err="1"/>
              <a:t>Biodiversity</a:t>
            </a:r>
            <a:r>
              <a:rPr lang="nb-NO" b="1"/>
              <a:t> in action</a:t>
            </a:r>
            <a:r>
              <a:rPr lang="nb-NO"/>
              <a:t>, </a:t>
            </a:r>
            <a:r>
              <a:rPr lang="nb-NO" err="1"/>
              <a:t>how</a:t>
            </a:r>
            <a:r>
              <a:rPr lang="nb-NO"/>
              <a:t> </a:t>
            </a:r>
            <a:r>
              <a:rPr lang="nb-NO" err="1"/>
              <a:t>can</a:t>
            </a:r>
            <a:r>
              <a:rPr lang="nb-NO"/>
              <a:t> </a:t>
            </a:r>
            <a:r>
              <a:rPr lang="nb-NO" err="1"/>
              <a:t>we</a:t>
            </a:r>
            <a:r>
              <a:rPr lang="nb-NO"/>
              <a:t> </a:t>
            </a:r>
            <a:r>
              <a:rPr lang="nb-NO" err="1"/>
              <a:t>contribute</a:t>
            </a:r>
            <a:r>
              <a:rPr lang="nb-NO"/>
              <a:t> to </a:t>
            </a:r>
            <a:r>
              <a:rPr lang="nb-NO" err="1"/>
              <a:t>the</a:t>
            </a:r>
            <a:r>
              <a:rPr lang="nb-NO"/>
              <a:t> </a:t>
            </a:r>
            <a:r>
              <a:rPr lang="nb-NO" b="1" err="1"/>
              <a:t>local</a:t>
            </a:r>
            <a:r>
              <a:rPr lang="nb-NO" b="1"/>
              <a:t> </a:t>
            </a:r>
            <a:r>
              <a:rPr lang="nb-NO" b="1" err="1"/>
              <a:t>biodiversity</a:t>
            </a:r>
            <a:r>
              <a:rPr lang="nb-NO" b="1"/>
              <a:t> </a:t>
            </a:r>
            <a:r>
              <a:rPr lang="nb-NO" err="1"/>
              <a:t>where</a:t>
            </a:r>
            <a:r>
              <a:rPr lang="nb-NO"/>
              <a:t> </a:t>
            </a:r>
            <a:r>
              <a:rPr lang="nb-NO" err="1"/>
              <a:t>we</a:t>
            </a:r>
            <a:r>
              <a:rPr lang="nb-NO"/>
              <a:t> </a:t>
            </a:r>
            <a:r>
              <a:rPr lang="nb-NO" err="1"/>
              <a:t>operate</a:t>
            </a:r>
            <a:r>
              <a:rPr lang="nb-NO"/>
              <a:t>. </a:t>
            </a:r>
            <a:r>
              <a:rPr lang="nb-NO" err="1"/>
              <a:t>Example</a:t>
            </a:r>
            <a:r>
              <a:rPr lang="nb-NO"/>
              <a:t> from N01 </a:t>
            </a:r>
            <a:r>
              <a:rPr lang="nb-NO" err="1"/>
              <a:t>where</a:t>
            </a:r>
            <a:r>
              <a:rPr lang="nb-NO"/>
              <a:t> </a:t>
            </a:r>
            <a:r>
              <a:rPr lang="nb-NO" err="1"/>
              <a:t>we</a:t>
            </a:r>
            <a:r>
              <a:rPr lang="nb-NO"/>
              <a:t> have </a:t>
            </a:r>
            <a:r>
              <a:rPr lang="nb-NO" err="1"/>
              <a:t>moved</a:t>
            </a:r>
            <a:r>
              <a:rPr lang="nb-NO"/>
              <a:t> and </a:t>
            </a:r>
            <a:r>
              <a:rPr lang="nb-NO" err="1"/>
              <a:t>also</a:t>
            </a:r>
            <a:r>
              <a:rPr lang="nb-NO"/>
              <a:t> </a:t>
            </a:r>
            <a:r>
              <a:rPr lang="nb-NO" err="1"/>
              <a:t>restored</a:t>
            </a:r>
            <a:r>
              <a:rPr lang="nb-NO"/>
              <a:t> marshland. </a:t>
            </a:r>
            <a:r>
              <a:rPr lang="nb-NO" err="1"/>
              <a:t>Also</a:t>
            </a:r>
            <a:r>
              <a:rPr lang="nb-NO"/>
              <a:t> </a:t>
            </a:r>
            <a:r>
              <a:rPr lang="nb-NO" err="1"/>
              <a:t>important</a:t>
            </a:r>
            <a:r>
              <a:rPr lang="nb-NO"/>
              <a:t> </a:t>
            </a:r>
            <a:r>
              <a:rPr lang="nb-NO" err="1"/>
              <a:t>because</a:t>
            </a:r>
            <a:r>
              <a:rPr lang="nb-NO"/>
              <a:t> marshland is </a:t>
            </a:r>
            <a:r>
              <a:rPr lang="nb-NO" err="1"/>
              <a:t>our</a:t>
            </a:r>
            <a:r>
              <a:rPr lang="nb-NO"/>
              <a:t> </a:t>
            </a:r>
            <a:r>
              <a:rPr lang="nb-NO" err="1"/>
              <a:t>natural</a:t>
            </a:r>
            <a:r>
              <a:rPr lang="nb-NO"/>
              <a:t> </a:t>
            </a:r>
            <a:r>
              <a:rPr lang="nb-NO" err="1"/>
              <a:t>carbon</a:t>
            </a:r>
            <a:r>
              <a:rPr lang="nb-NO"/>
              <a:t> </a:t>
            </a:r>
            <a:r>
              <a:rPr lang="nb-NO" err="1"/>
              <a:t>capture</a:t>
            </a:r>
            <a:r>
              <a:rPr lang="nb-NO"/>
              <a:t> system.</a:t>
            </a:r>
          </a:p>
          <a:p>
            <a:r>
              <a:rPr lang="nb-NO" err="1">
                <a:cs typeface="Calibri"/>
              </a:rPr>
              <a:t>Moved</a:t>
            </a:r>
            <a:r>
              <a:rPr lang="nb-NO">
                <a:cs typeface="Calibri"/>
              </a:rPr>
              <a:t> and </a:t>
            </a:r>
            <a:r>
              <a:rPr lang="nb-NO" err="1">
                <a:cs typeface="Calibri"/>
              </a:rPr>
              <a:t>reestablished</a:t>
            </a:r>
            <a:r>
              <a:rPr lang="nb-NO">
                <a:cs typeface="Calibri"/>
              </a:rPr>
              <a:t> – Research </a:t>
            </a:r>
            <a:r>
              <a:rPr lang="nb-NO" err="1">
                <a:cs typeface="Calibri"/>
              </a:rPr>
              <a:t>ongoing</a:t>
            </a:r>
            <a:r>
              <a:rPr lang="nb-NO">
                <a:cs typeface="Calibri"/>
              </a:rPr>
              <a:t> </a:t>
            </a:r>
            <a:r>
              <a:rPr lang="nb-NO" err="1">
                <a:cs typeface="Calibri"/>
              </a:rPr>
              <a:t>on</a:t>
            </a:r>
            <a:r>
              <a:rPr lang="nb-NO">
                <a:cs typeface="Calibri"/>
              </a:rPr>
              <a:t> </a:t>
            </a:r>
            <a:r>
              <a:rPr lang="nb-NO" err="1">
                <a:cs typeface="Calibri"/>
              </a:rPr>
              <a:t>how</a:t>
            </a:r>
            <a:r>
              <a:rPr lang="nb-NO">
                <a:cs typeface="Calibri"/>
              </a:rPr>
              <a:t> </a:t>
            </a:r>
            <a:r>
              <a:rPr lang="nb-NO" err="1">
                <a:cs typeface="Calibri"/>
              </a:rPr>
              <a:t>much</a:t>
            </a:r>
            <a:r>
              <a:rPr lang="nb-NO">
                <a:cs typeface="Calibri"/>
              </a:rPr>
              <a:t> CO2 has </a:t>
            </a:r>
            <a:r>
              <a:rPr lang="nb-NO" err="1">
                <a:cs typeface="Calibri"/>
              </a:rPr>
              <a:t>been</a:t>
            </a:r>
            <a:r>
              <a:rPr lang="nb-NO">
                <a:cs typeface="Calibri"/>
              </a:rPr>
              <a:t> </a:t>
            </a:r>
            <a:r>
              <a:rPr lang="nb-NO" err="1">
                <a:cs typeface="Calibri"/>
              </a:rPr>
              <a:t>embedded</a:t>
            </a:r>
            <a:r>
              <a:rPr lang="nb-NO">
                <a:cs typeface="Calibri"/>
              </a:rPr>
              <a:t> and </a:t>
            </a:r>
            <a:r>
              <a:rPr lang="nb-NO" err="1">
                <a:cs typeface="Calibri"/>
              </a:rPr>
              <a:t>restored</a:t>
            </a:r>
            <a:r>
              <a:rPr lang="nb-NO">
                <a:cs typeface="Calibri"/>
              </a:rPr>
              <a:t>.</a:t>
            </a:r>
          </a:p>
          <a:p>
            <a:endParaRPr lang="nb-NO">
              <a:cs typeface="Calibri"/>
            </a:endParaRPr>
          </a:p>
        </p:txBody>
      </p:sp>
      <p:sp>
        <p:nvSpPr>
          <p:cNvPr id="4" name="Plassholder for lysbildenummer 3"/>
          <p:cNvSpPr>
            <a:spLocks noGrp="1"/>
          </p:cNvSpPr>
          <p:nvPr>
            <p:ph type="sldNum" sz="quarter" idx="5"/>
          </p:nvPr>
        </p:nvSpPr>
        <p:spPr/>
        <p:txBody>
          <a:bodyPr/>
          <a:lstStyle/>
          <a:p>
            <a:pPr>
              <a:defRPr/>
            </a:pPr>
            <a:fld id="{953D4169-02C8-444A-A0D4-F78ACBC46661}" type="slidenum">
              <a:rPr lang="en-US" smtClean="0"/>
              <a:pPr>
                <a:defRPr/>
              </a:pPr>
              <a:t>22</a:t>
            </a:fld>
            <a:endParaRPr lang="en-US"/>
          </a:p>
        </p:txBody>
      </p:sp>
    </p:spTree>
    <p:extLst>
      <p:ext uri="{BB962C8B-B14F-4D97-AF65-F5344CB8AC3E}">
        <p14:creationId xmlns:p14="http://schemas.microsoft.com/office/powerpoint/2010/main" val="2936486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a:t>We define sustainability through an ESG-lens, covering environmental, social and governance factors. Bulk has developed and implemented a sustainability framework on how we work with sustainability that consists of four perspectives; Location, Asset, Ecosystem and Society</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8465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asy to forget, subsea impacts – Fish trawlers – Ecosystem  - Fish Sand Eel – lowest in the eco system – Birds, other fish pray on it. </a:t>
            </a:r>
            <a:r>
              <a:rPr lang="en-US" err="1">
                <a:cs typeface="Calibri"/>
              </a:rPr>
              <a:t>Reouting</a:t>
            </a:r>
            <a:r>
              <a:rPr lang="en-US">
                <a:cs typeface="Calibri"/>
              </a:rPr>
              <a:t> the cable path. </a:t>
            </a:r>
          </a:p>
        </p:txBody>
      </p:sp>
      <p:sp>
        <p:nvSpPr>
          <p:cNvPr id="4" name="Slide Number Placeholder 3"/>
          <p:cNvSpPr>
            <a:spLocks noGrp="1"/>
          </p:cNvSpPr>
          <p:nvPr>
            <p:ph type="sldNum" sz="quarter" idx="5"/>
          </p:nvPr>
        </p:nvSpPr>
        <p:spPr/>
        <p:txBody>
          <a:bodyPr/>
          <a:lstStyle/>
          <a:p>
            <a:pPr>
              <a:defRPr/>
            </a:pPr>
            <a:fld id="{953D4169-02C8-444A-A0D4-F78ACBC46661}" type="slidenum">
              <a:rPr lang="en-US"/>
              <a:pPr>
                <a:defRPr/>
              </a:pPr>
              <a:t>23</a:t>
            </a:fld>
            <a:endParaRPr lang="en-US"/>
          </a:p>
        </p:txBody>
      </p:sp>
    </p:spTree>
    <p:extLst>
      <p:ext uri="{BB962C8B-B14F-4D97-AF65-F5344CB8AC3E}">
        <p14:creationId xmlns:p14="http://schemas.microsoft.com/office/powerpoint/2010/main" val="9341519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65675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ea typeface="Calibri" panose="020F0502020204030204" pitchFamily="34" charset="0"/>
                <a:cs typeface="Calibri"/>
              </a:rPr>
              <a:t>Of course we act in accordance with national and international laws and regulation, but there is more…</a:t>
            </a:r>
          </a:p>
          <a:p>
            <a:r>
              <a:rPr lang="en-US" dirty="0">
                <a:latin typeface="Calibri"/>
                <a:ea typeface="Calibri" panose="020F0502020204030204" pitchFamily="34" charset="0"/>
                <a:cs typeface="Calibri"/>
              </a:rPr>
              <a:t>How do we treat partners, colleagues</a:t>
            </a:r>
          </a:p>
          <a:p>
            <a:r>
              <a:rPr lang="en-US" sz="1200" b="1" dirty="0">
                <a:effectLst/>
                <a:latin typeface="Calibri"/>
                <a:ea typeface="Calibri" panose="020F0502020204030204" pitchFamily="34" charset="0"/>
                <a:cs typeface="Calibri"/>
              </a:rPr>
              <a:t>High integrity</a:t>
            </a:r>
            <a:endParaRPr lang="en-US" b="1" dirty="0">
              <a:latin typeface="Calibri"/>
              <a:cs typeface="Calibri"/>
            </a:endParaRPr>
          </a:p>
          <a:p>
            <a:r>
              <a:rPr lang="en-US" sz="1200" dirty="0">
                <a:effectLst/>
                <a:latin typeface="Calibri"/>
                <a:ea typeface="Calibri" panose="020F0502020204030204" pitchFamily="34" charset="0"/>
                <a:cs typeface="Calibri"/>
              </a:rPr>
              <a:t>Suppliers, sub suppliers</a:t>
            </a:r>
          </a:p>
          <a:p>
            <a:r>
              <a:rPr lang="en-US" sz="1200" dirty="0">
                <a:effectLst/>
                <a:latin typeface="Calibri"/>
                <a:ea typeface="Calibri" panose="020F0502020204030204" pitchFamily="34" charset="0"/>
                <a:cs typeface="Calibri"/>
              </a:rPr>
              <a:t>Social Responsibility &amp;</a:t>
            </a:r>
          </a:p>
          <a:p>
            <a:r>
              <a:rPr lang="en-US" sz="1200" dirty="0">
                <a:effectLst/>
                <a:latin typeface="Calibri"/>
                <a:ea typeface="Calibri" panose="020F0502020204030204" pitchFamily="34" charset="0"/>
                <a:cs typeface="Calibri"/>
              </a:rPr>
              <a:t>Good Governance</a:t>
            </a:r>
            <a:r>
              <a:rPr lang="en-US" dirty="0">
                <a:latin typeface="Calibri"/>
                <a:ea typeface="Calibri" panose="020F0502020204030204" pitchFamily="34" charset="0"/>
                <a:cs typeface="Calibri"/>
              </a:rPr>
              <a:t> </a:t>
            </a:r>
            <a:endParaRPr lang="en-US" sz="1200" dirty="0">
              <a:effectLst/>
              <a:latin typeface="Calibri" panose="020F0502020204030204" pitchFamily="34" charset="0"/>
              <a:ea typeface="Calibri" panose="020F0502020204030204" pitchFamily="34" charset="0"/>
              <a:cs typeface="Calibri"/>
            </a:endParaRPr>
          </a:p>
          <a:p>
            <a:r>
              <a:rPr lang="en-US" sz="1200" u="sng" dirty="0">
                <a:effectLst/>
                <a:latin typeface="Calibri"/>
                <a:ea typeface="Calibri" panose="020F0502020204030204" pitchFamily="34" charset="0"/>
                <a:cs typeface="Calibri"/>
              </a:rPr>
              <a:t>To the betterment of the society</a:t>
            </a:r>
            <a:endParaRPr lang="en-GB" sz="1200" dirty="0">
              <a:effectLst/>
              <a:latin typeface="Calibri"/>
              <a:ea typeface="Calibri" panose="020F0502020204030204" pitchFamily="34" charset="0"/>
              <a:cs typeface="Calibri"/>
            </a:endParaRPr>
          </a:p>
          <a:p>
            <a:endParaRPr lang="en-US" u="sng" dirty="0">
              <a:cs typeface="Calibri"/>
            </a:endParaRPr>
          </a:p>
          <a:p>
            <a:r>
              <a:rPr lang="en-US" u="sng" dirty="0">
                <a:cs typeface="Calibri"/>
              </a:rPr>
              <a:t>Our values: Respect, Creative Power and Passion</a:t>
            </a:r>
          </a:p>
          <a:p>
            <a:endParaRPr lang="nb-NO"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94936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1574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a:p>
        </p:txBody>
      </p:sp>
      <p:sp>
        <p:nvSpPr>
          <p:cNvPr id="4" name="Plassholder for lysbildenummer 3"/>
          <p:cNvSpPr>
            <a:spLocks noGrp="1"/>
          </p:cNvSpPr>
          <p:nvPr>
            <p:ph type="sldNum" sz="quarter" idx="5"/>
          </p:nvPr>
        </p:nvSpPr>
        <p:spPr/>
        <p:txBody>
          <a:bodyPr/>
          <a:lstStyle/>
          <a:p>
            <a:pPr>
              <a:defRPr/>
            </a:pPr>
            <a:fld id="{953D4169-02C8-444A-A0D4-F78ACBC46661}" type="slidenum">
              <a:rPr lang="en-US" smtClean="0"/>
              <a:pPr>
                <a:defRPr/>
              </a:pPr>
              <a:t>27</a:t>
            </a:fld>
            <a:endParaRPr lang="en-US"/>
          </a:p>
        </p:txBody>
      </p:sp>
    </p:spTree>
    <p:extLst>
      <p:ext uri="{BB962C8B-B14F-4D97-AF65-F5344CB8AC3E}">
        <p14:creationId xmlns:p14="http://schemas.microsoft.com/office/powerpoint/2010/main" val="31427560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1815E-EE53-D149-5977-74896D49F79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C1C233E-8A04-1972-B826-14075FC3CA17}"/>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8810304C-53EE-0C1C-EB76-B2C09AEFDE28}"/>
              </a:ext>
            </a:extLst>
          </p:cNvPr>
          <p:cNvSpPr>
            <a:spLocks noGrp="1"/>
          </p:cNvSpPr>
          <p:nvPr>
            <p:ph type="body" idx="1"/>
          </p:nvPr>
        </p:nvSpPr>
        <p:spPr/>
        <p:txBody>
          <a:bodyPr/>
          <a:lstStyle/>
          <a:p>
            <a:r>
              <a:rPr lang="en-US" sz="1200"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ulk has set a net-zero target by 2050 across its scope 1, 2, and 3 emissions. We will seek to reduce our scope 1 and 2 emissions by 50 per cent by 2030 and our emissions by</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30 per cent for scope 3 by 2030. The combination of absolute and intensity targets has been chosen because we are</a:t>
            </a:r>
            <a:endParaRPr lang="en-GB" sz="1200" kern="120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a:solidFill>
                  <a:schemeClr val="tx1"/>
                </a:solidFill>
                <a:effectLst/>
                <a:latin typeface="+mn-lt"/>
                <a:ea typeface="+mn-ea"/>
                <a:cs typeface="+mn-cs"/>
              </a:rPr>
              <a:t>a company in growth. Intensity targets enable a visible effect of climate actions, even when a company is expanding, by measuring emissions per unit, such as MNOK.</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a:solidFill>
                  <a:schemeClr val="tx1"/>
                </a:solidFill>
                <a:effectLst/>
                <a:latin typeface="+mn-lt"/>
                <a:ea typeface="+mn-ea"/>
                <a:cs typeface="+mn-cs"/>
              </a:rPr>
              <a:t>The base-line year for most of our emissions-related activities is 2022. However, obtaining emissions data from suppliers regarding technical equipment remains challenging. Consequently, spend-based estimates are still required. A formal baseline will be established once sufficient and reliable data becomes available.</a:t>
            </a:r>
            <a:endParaRPr lang="en-GB" sz="1200" kern="1200">
              <a:solidFill>
                <a:schemeClr val="tx1"/>
              </a:solidFill>
              <a:effectLst/>
              <a:latin typeface="+mn-lt"/>
              <a:ea typeface="+mn-ea"/>
              <a:cs typeface="+mn-cs"/>
            </a:endParaRPr>
          </a:p>
          <a:p>
            <a:endParaRPr lang="en-GB" sz="1200" kern="120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a:solidFill>
                <a:srgbClr val="FFFFFF"/>
              </a:solidFill>
              <a:latin typeface="Arial"/>
              <a:cs typeface="Arial"/>
            </a:endParaRPr>
          </a:p>
        </p:txBody>
      </p:sp>
      <p:sp>
        <p:nvSpPr>
          <p:cNvPr id="4" name="Plassholder for lysbildenummer 3">
            <a:extLst>
              <a:ext uri="{FF2B5EF4-FFF2-40B4-BE49-F238E27FC236}">
                <a16:creationId xmlns:a16="http://schemas.microsoft.com/office/drawing/2014/main" id="{3CF4827C-8C5F-725F-BDED-0CA42C1946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0FF03-E1D7-4F25-8F20-31F54B8CCD0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3122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a:t>Bulk has set ambitious emissions targets to combat climate change, including a goal to achieve net-zero emissions across all scopes (1, 2, and 3) by 2050. Additionally, we will reduce our scope 1 and 2 emissions by 50 per cent and decrease our emissions intensity by 30 per cent for scope 3 by 2030.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a:p>
          <a:p>
            <a:pPr marL="0" marR="0" lvl="0" indent="0" algn="l" defTabSz="914400" rtl="0" eaLnBrk="0" fontAlgn="base" latinLnBrk="0" hangingPunct="0">
              <a:lnSpc>
                <a:spcPct val="100000"/>
              </a:lnSpc>
              <a:spcBef>
                <a:spcPct val="30000"/>
              </a:spcBef>
              <a:spcAft>
                <a:spcPct val="0"/>
              </a:spcAft>
              <a:buClrTx/>
              <a:buSzTx/>
              <a:buFontTx/>
              <a:buNone/>
              <a:tabLst/>
              <a:defRPr/>
            </a:pPr>
            <a:r>
              <a:rPr lang="en-GB"/>
              <a:t>The first step to setting this target has been to measure our climate impac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a:solidFill>
                  <a:schemeClr val="tx1"/>
                </a:solidFill>
                <a:effectLst/>
                <a:latin typeface="+mn-lt"/>
                <a:ea typeface="+mn-ea"/>
                <a:cs typeface="+mn-cs"/>
              </a:rPr>
              <a:t>The base-line year for most of our emissions-related activities is 2022. However, obtaining emissions data from suppliers regarding technical equipment remains challenging. Consequently, spend-based estimates are still required. A formal baseline will be established once sufficient and reliable data becomes available.</a:t>
            </a:r>
            <a:endParaRPr lang="en-GB" sz="1200" kern="120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a:solidFill>
                  <a:schemeClr val="tx1"/>
                </a:solidFill>
                <a:effectLst/>
                <a:latin typeface="+mn-lt"/>
                <a:ea typeface="+mn-ea"/>
                <a:cs typeface="+mn-cs"/>
              </a:rPr>
              <a:t>Scopes 1 and 2 include direct/indirect emissions from locations owned or controlled by the company. Scope 3 covers indirect emissions in a company’s upstream and downstream value chain. Bulk reports on all its Scope 1 and 2 emissions using the location-based and market-based methodologies. Reported Scope 3 categories include Waste, Capital Goods, Business Travel and Upstream Leased Assets. Scope 3 Capital Goods emissions are recorded in the year a project is completed.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a:solidFill>
                  <a:schemeClr val="tx1"/>
                </a:solidFill>
                <a:effectLst/>
                <a:latin typeface="+mn-lt"/>
                <a:ea typeface="+mn-ea"/>
                <a:cs typeface="+mn-cs"/>
              </a:rPr>
              <a:t>Our GHG emissions accounting objectives:</a:t>
            </a:r>
          </a:p>
          <a:p>
            <a:r>
              <a:rPr lang="en-US" sz="1200" kern="1200">
                <a:solidFill>
                  <a:schemeClr val="tx1"/>
                </a:solidFill>
                <a:effectLst/>
                <a:latin typeface="+mn-lt"/>
                <a:ea typeface="+mn-ea"/>
                <a:cs typeface="+mn-cs"/>
              </a:rPr>
              <a:t>We aim to move from cost-based estimates to precise data from suppliers based on life cycle assessments. We have implemented life cycle assessments in our construction</a:t>
            </a:r>
            <a:r>
              <a:rPr lang="en-GB" sz="1200" kern="1200">
                <a:solidFill>
                  <a:schemeClr val="tx1"/>
                </a:solidFill>
                <a:effectLst/>
                <a:latin typeface="+mn-lt"/>
                <a:ea typeface="+mn-ea"/>
                <a:cs typeface="+mn-cs"/>
              </a:rPr>
              <a:t> </a:t>
            </a:r>
            <a:r>
              <a:rPr lang="en-US" sz="1200" kern="1200">
                <a:solidFill>
                  <a:schemeClr val="tx1"/>
                </a:solidFill>
                <a:effectLst/>
                <a:latin typeface="+mn-lt"/>
                <a:ea typeface="+mn-ea"/>
                <a:cs typeface="+mn-cs"/>
              </a:rPr>
              <a:t>projects, providing better data on emissions from materials. However, data from many technical components is still lacking. We are actively working to obtain this data and</a:t>
            </a:r>
            <a:r>
              <a:rPr lang="en-GB" sz="1200" kern="1200">
                <a:solidFill>
                  <a:schemeClr val="tx1"/>
                </a:solidFill>
                <a:effectLst/>
                <a:latin typeface="+mn-lt"/>
                <a:ea typeface="+mn-ea"/>
                <a:cs typeface="+mn-cs"/>
              </a:rPr>
              <a:t> </a:t>
            </a:r>
            <a:r>
              <a:rPr lang="en-US" sz="1200" kern="1200">
                <a:solidFill>
                  <a:schemeClr val="tx1"/>
                </a:solidFill>
                <a:effectLst/>
                <a:latin typeface="+mn-lt"/>
                <a:ea typeface="+mn-ea"/>
                <a:cs typeface="+mn-cs"/>
              </a:rPr>
              <a:t>are requesting Environmental Product Declarations (EPDs) from our suppliers. Category 2 Capital goods is the largest source of scope 3 emissions, including embodied emissions from manufacturing and transporting building materials and technical components, as well as fuel consumption for land preparation.</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GB"/>
          </a:p>
          <a:p>
            <a:r>
              <a:rPr lang="en-GB"/>
              <a:t>More on our choice of targets:</a:t>
            </a:r>
            <a:endParaRPr lang="en-US"/>
          </a:p>
          <a:p>
            <a:pPr marL="171450" indent="-171450">
              <a:buFont typeface="Arial,Sans-Serif"/>
              <a:buChar char="•"/>
            </a:pPr>
            <a:r>
              <a:rPr lang="en-GB"/>
              <a:t>The combination of absolute and intensity targets fits a company in growth</a:t>
            </a:r>
            <a:r>
              <a:rPr lang="en-US"/>
              <a:t> </a:t>
            </a:r>
            <a:endParaRPr lang="en-US">
              <a:cs typeface="Calibri"/>
            </a:endParaRPr>
          </a:p>
          <a:p>
            <a:pPr marL="171450" indent="-171450">
              <a:buFont typeface="Arial,Sans-Serif"/>
              <a:buChar char="•"/>
            </a:pPr>
            <a:r>
              <a:rPr lang="en-GB"/>
              <a:t>Intensity targets enables visible effect of climate actions even when a company is expanding by measuring emissions per unit such as MNOK invested, revenue, m2 etc.</a:t>
            </a:r>
            <a:r>
              <a:rPr lang="en-US"/>
              <a:t> </a:t>
            </a:r>
            <a:endParaRPr lang="en-US">
              <a:cs typeface="Calibri"/>
            </a:endParaRPr>
          </a:p>
          <a:p>
            <a:pPr marL="171450" indent="-171450">
              <a:buFont typeface="Arial,Sans-Serif"/>
              <a:buChar char="•"/>
            </a:pPr>
            <a:r>
              <a:rPr lang="en-GB"/>
              <a:t>Intensity targets for specific units must be established based on today’s situation and the overall emission targets. </a:t>
            </a:r>
            <a:r>
              <a:rPr lang="en-US"/>
              <a:t> </a:t>
            </a:r>
            <a:endParaRPr lang="en-US">
              <a:cs typeface="Calibri"/>
            </a:endParaRPr>
          </a:p>
          <a:p>
            <a:pPr marL="171450" indent="-171450">
              <a:buFont typeface="Arial,Sans-Serif"/>
              <a:buChar char="•"/>
            </a:pPr>
            <a:r>
              <a:rPr lang="en-GB"/>
              <a:t>Absolute emission targets fits for delimited operations such as a construction project, even when the company is increasing the total number of such projects. </a:t>
            </a:r>
            <a:r>
              <a:rPr lang="en-US"/>
              <a:t> </a:t>
            </a:r>
            <a:endParaRPr lang="en-US">
              <a:cs typeface="Calibri"/>
            </a:endParaRPr>
          </a:p>
          <a:p>
            <a:endParaRPr lang="en-GB"/>
          </a:p>
          <a:p>
            <a:endParaRPr lang="en-GB">
              <a:cs typeface="Calibri"/>
            </a:endParaRPr>
          </a:p>
        </p:txBody>
      </p:sp>
      <p:sp>
        <p:nvSpPr>
          <p:cNvPr id="4" name="Plassholder for lysbildenummer 3"/>
          <p:cNvSpPr>
            <a:spLocks noGrp="1"/>
          </p:cNvSpPr>
          <p:nvPr>
            <p:ph type="sldNum" sz="quarter" idx="5"/>
          </p:nvPr>
        </p:nvSpPr>
        <p:spPr/>
        <p:txBody>
          <a:bodyPr/>
          <a:lstStyle/>
          <a:p>
            <a:pPr>
              <a:defRPr/>
            </a:pPr>
            <a:fld id="{953D4169-02C8-444A-A0D4-F78ACBC46661}" type="slidenum">
              <a:rPr lang="en-US" smtClean="0"/>
              <a:pPr>
                <a:defRPr/>
              </a:pPr>
              <a:t>29</a:t>
            </a:fld>
            <a:endParaRPr lang="en-US"/>
          </a:p>
        </p:txBody>
      </p:sp>
    </p:spTree>
    <p:extLst>
      <p:ext uri="{BB962C8B-B14F-4D97-AF65-F5344CB8AC3E}">
        <p14:creationId xmlns:p14="http://schemas.microsoft.com/office/powerpoint/2010/main" val="31231066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E67F6-0556-AD89-B77A-82491D34726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2955EA1-B6C0-DF11-31C5-75BA807F0B0C}"/>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300D2F72-B8FE-FD1B-91AD-2B15137661D4}"/>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Our GHG emissions accounting for our Data Centers Campuses N01, OSIX and DK01 for 2024</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a:p>
            <a:r>
              <a:rPr lang="en-GB" dirty="0">
                <a:cs typeface="Calibri"/>
              </a:rPr>
              <a:t>Scope 1 – use of vehicles and diesel generators (testing in DC)</a:t>
            </a:r>
          </a:p>
          <a:p>
            <a:r>
              <a:rPr lang="en-GB" dirty="0"/>
              <a:t>Scope 2 – location – sustainable energy. </a:t>
            </a:r>
            <a:endParaRPr lang="en-GB" dirty="0">
              <a:cs typeface="Calibri"/>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dirty="0">
                <a:solidFill>
                  <a:schemeClr val="bg2"/>
                </a:solidFill>
              </a:rPr>
              <a:t>Our </a:t>
            </a:r>
            <a:r>
              <a:rPr lang="en-GB" dirty="0">
                <a:solidFill>
                  <a:schemeClr val="bg2"/>
                </a:solidFill>
              </a:rPr>
              <a:t>Bulk locations</a:t>
            </a:r>
            <a:r>
              <a:rPr lang="en-GB" sz="1200" dirty="0">
                <a:solidFill>
                  <a:schemeClr val="bg2"/>
                </a:solidFill>
              </a:rPr>
              <a:t> in the Nordics provide us with the advantage of renewable power and a stable energy grid. As a result, Bulk’s emissions in scope 1 and 2 are very low. The majority of Bulk’s emission derive from activities in our supply chain and is reflected in scope 3 emissions.</a:t>
            </a:r>
            <a:endParaRPr lang="en-GB" sz="1200" dirty="0">
              <a:solidFill>
                <a:schemeClr val="bg2"/>
              </a:solidFill>
              <a:cs typeface="Calibri"/>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a:p>
            <a:endParaRPr lang="en-GB" dirty="0"/>
          </a:p>
        </p:txBody>
      </p:sp>
      <p:sp>
        <p:nvSpPr>
          <p:cNvPr id="4" name="Plassholder for lysbildenummer 3">
            <a:extLst>
              <a:ext uri="{FF2B5EF4-FFF2-40B4-BE49-F238E27FC236}">
                <a16:creationId xmlns:a16="http://schemas.microsoft.com/office/drawing/2014/main" id="{BE853568-0640-5C6E-7F74-B5E16B0CD63A}"/>
              </a:ext>
            </a:extLst>
          </p:cNvPr>
          <p:cNvSpPr>
            <a:spLocks noGrp="1"/>
          </p:cNvSpPr>
          <p:nvPr>
            <p:ph type="sldNum" sz="quarter" idx="5"/>
          </p:nvPr>
        </p:nvSpPr>
        <p:spPr/>
        <p:txBody>
          <a:bodyPr/>
          <a:lstStyle/>
          <a:p>
            <a:pPr>
              <a:defRPr/>
            </a:pPr>
            <a:fld id="{953D4169-02C8-444A-A0D4-F78ACBC46661}" type="slidenum">
              <a:rPr lang="en-US" smtClean="0"/>
              <a:pPr>
                <a:defRPr/>
              </a:pPr>
              <a:t>30</a:t>
            </a:fld>
            <a:endParaRPr lang="en-US"/>
          </a:p>
        </p:txBody>
      </p:sp>
    </p:spTree>
    <p:extLst>
      <p:ext uri="{BB962C8B-B14F-4D97-AF65-F5344CB8AC3E}">
        <p14:creationId xmlns:p14="http://schemas.microsoft.com/office/powerpoint/2010/main" val="24749720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1" i="0" kern="1200">
                <a:solidFill>
                  <a:schemeClr val="tx1"/>
                </a:solidFill>
                <a:effectLst/>
                <a:latin typeface="+mn-lt"/>
                <a:ea typeface="+mn-ea"/>
                <a:cs typeface="+mn-cs"/>
              </a:rPr>
              <a:t>Climate budgeting is without doubt an ambition of ours. </a:t>
            </a:r>
            <a:r>
              <a:rPr lang="en-GB" sz="1200" b="0" i="0" kern="1200">
                <a:solidFill>
                  <a:schemeClr val="tx1"/>
                </a:solidFill>
                <a:effectLst/>
                <a:latin typeface="+mn-lt"/>
                <a:ea typeface="+mn-ea"/>
                <a:cs typeface="+mn-cs"/>
              </a:rPr>
              <a:t>What is i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0" i="0" kern="1200">
                <a:solidFill>
                  <a:schemeClr val="tx1"/>
                </a:solidFill>
                <a:effectLst/>
                <a:latin typeface="+mn-lt"/>
                <a:ea typeface="+mn-ea"/>
                <a:cs typeface="+mn-cs"/>
              </a:rPr>
              <a:t>It is the process of defining a pathway to achieving climate targets, linking targets with key areas for emissions reductions. By establishing a transparent plan to monitor and report progress, it builds credibility in the market and finance sector. Climate budgeting is also a powerful tool for internal and external communication of emission reduction ambitions and targets, and aligns with emerging demands and expectations.</a:t>
            </a:r>
          </a:p>
          <a:p>
            <a:endParaRPr lang="nb-NO" b="1">
              <a:cs typeface="Calibri"/>
            </a:endParaRPr>
          </a:p>
        </p:txBody>
      </p:sp>
      <p:sp>
        <p:nvSpPr>
          <p:cNvPr id="4" name="Plassholder for lysbildenummer 3"/>
          <p:cNvSpPr>
            <a:spLocks noGrp="1"/>
          </p:cNvSpPr>
          <p:nvPr>
            <p:ph type="sldNum" sz="quarter" idx="5"/>
          </p:nvPr>
        </p:nvSpPr>
        <p:spPr/>
        <p:txBody>
          <a:bodyPr/>
          <a:lstStyle/>
          <a:p>
            <a:pPr>
              <a:defRPr/>
            </a:pPr>
            <a:fld id="{953D4169-02C8-444A-A0D4-F78ACBC46661}" type="slidenum">
              <a:rPr lang="en-US" smtClean="0"/>
              <a:pPr>
                <a:defRPr/>
              </a:pPr>
              <a:t>31</a:t>
            </a:fld>
            <a:endParaRPr lang="en-US"/>
          </a:p>
        </p:txBody>
      </p:sp>
    </p:spTree>
    <p:extLst>
      <p:ext uri="{BB962C8B-B14F-4D97-AF65-F5344CB8AC3E}">
        <p14:creationId xmlns:p14="http://schemas.microsoft.com/office/powerpoint/2010/main" val="21910518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12EF0-62AB-6BB6-4110-F18662EB137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D3C5B77-CD91-7E4F-0671-C66B2EA64BFF}"/>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43DEE484-3730-7EB3-3842-3B631B637FE2}"/>
              </a:ext>
            </a:extLst>
          </p:cNvPr>
          <p:cNvSpPr>
            <a:spLocks noGrp="1"/>
          </p:cNvSpPr>
          <p:nvPr>
            <p:ph type="body" idx="1"/>
          </p:nvPr>
        </p:nvSpPr>
        <p:spPr/>
        <p:txBody>
          <a:bodyPr/>
          <a:lstStyle/>
          <a:p>
            <a:r>
              <a:rPr lang="en-GB"/>
              <a:t>Bulk is committed to sustainability and mitigating climate-related risks. The company has, since 2022, conducted a thorough climate analysis based on the Task Force on Climate-related Financial Disclosures (TCFD) framework.  In 2025, we started conducting a Gap assessment of our TCFD disclosures to IFRS S1 and S2, which has the same four pillars as the TCFD framework (Governance, Strategy, Risk Management, and Metrics and Targets). </a:t>
            </a:r>
          </a:p>
          <a:p>
            <a:endParaRPr lang="en-GB"/>
          </a:p>
          <a:p>
            <a:r>
              <a:rPr lang="en-GB"/>
              <a:t>In the TCFD framework, Transitional risks and opportunities relate to those associated with the transition to a low-carbon economy. These may be a result of Policy and regulation, technology, market and reputation and legal changes. Physical risks and opportunities are those that are associated with the physical impacts of climate change. This slide highlights the most material transitional and physical risks and opportunities identified by Bulk.</a:t>
            </a:r>
          </a:p>
          <a:p>
            <a:endParaRPr lang="en-GB"/>
          </a:p>
          <a:p>
            <a:r>
              <a:rPr lang="en-GB"/>
              <a:t>Our analysis has identified rising temperatures (causing wildfires and extreme weather events) as key risks regarding physical assets, and an evolving landscape of legislative regulations at both the national and EU levels as a transitional risk that may affect the industry. Bulk is actively working to be prepared for the challenges posed by climate change and rising temperatures. </a:t>
            </a:r>
          </a:p>
          <a:p>
            <a:endParaRPr lang="en-GB"/>
          </a:p>
          <a:p>
            <a:pPr marL="0" marR="0" lvl="0" indent="0" algn="l" defTabSz="914400" rtl="0" eaLnBrk="0" fontAlgn="base" latinLnBrk="0" hangingPunct="0">
              <a:lnSpc>
                <a:spcPct val="100000"/>
              </a:lnSpc>
              <a:spcBef>
                <a:spcPct val="30000"/>
              </a:spcBef>
              <a:spcAft>
                <a:spcPct val="0"/>
              </a:spcAft>
              <a:buClrTx/>
              <a:buSzTx/>
              <a:buFontTx/>
              <a:buNone/>
              <a:tabLst/>
              <a:defRPr/>
            </a:pPr>
            <a:r>
              <a:rPr lang="en-GB"/>
              <a:t>We have implemented robust strategies to mitigate the impact of extreme weather events such as downpours and storms, ensuring minimal disruptions to our operations. Our proactive approach includes strategically selecting locations for site development and enhancing the resilience of our building infrastructure. Careful assessment of climate risk is a key criterion in our site selection process to ensure robust infrastructure. Location has been one of the key elements in our sustainability framework from the beginning, of which availability of renewable energy and further plans for development in the area are among the main decision criteria. </a:t>
            </a:r>
          </a:p>
          <a:p>
            <a:endParaRPr lang="en-GB"/>
          </a:p>
          <a:p>
            <a:endParaRPr lang="en-GB"/>
          </a:p>
          <a:p>
            <a:r>
              <a:rPr lang="en-GB"/>
              <a:t>Deep-dive into our climate-related </a:t>
            </a:r>
            <a:r>
              <a:rPr lang="en-GB" b="1"/>
              <a:t>data </a:t>
            </a:r>
            <a:r>
              <a:rPr lang="en-GB" b="1" err="1"/>
              <a:t>center</a:t>
            </a:r>
            <a:r>
              <a:rPr lang="en-GB" b="1"/>
              <a:t> </a:t>
            </a:r>
            <a:r>
              <a:rPr lang="en-GB"/>
              <a:t>R&amp;Os – with focus on expected impact and capitalising efforts:</a:t>
            </a:r>
          </a:p>
          <a:p>
            <a:endParaRPr lang="en-GB"/>
          </a:p>
          <a:p>
            <a:pPr marL="356870" indent="-356870"/>
            <a:r>
              <a:rPr lang="en-US">
                <a:cs typeface="Arial"/>
              </a:rPr>
              <a:t>Transitional</a:t>
            </a:r>
          </a:p>
          <a:p>
            <a:pPr marL="715645" lvl="1" indent="-356870"/>
            <a:r>
              <a:rPr lang="en-US">
                <a:cs typeface="Arial"/>
              </a:rPr>
              <a:t>Opportunities</a:t>
            </a:r>
          </a:p>
          <a:p>
            <a:pPr marL="1006475" lvl="2" indent="-285750">
              <a:buFont typeface="Wingdings" panose="05000000000000000000" pitchFamily="2" charset="2"/>
              <a:buChar char="§"/>
            </a:pPr>
            <a:r>
              <a:rPr lang="en-GB">
                <a:cs typeface="Arial"/>
              </a:rPr>
              <a:t>Increased market opportunities due to access to renewable energy: </a:t>
            </a:r>
            <a:r>
              <a:rPr lang="en-US" sz="1200" kern="1200">
                <a:solidFill>
                  <a:schemeClr val="tx1"/>
                </a:solidFill>
                <a:effectLst/>
                <a:latin typeface="+mn-lt"/>
                <a:ea typeface="+mn-ea"/>
                <a:cs typeface="+mn-cs"/>
              </a:rPr>
              <a:t>Access to energy is becoming a growing challenge for power-intensive industries. Bulk operates in Norway and Denmark, lever-aging a location-based renewable-dominated energy mix to strengthen its position in a market focused on low-carbon solutions and energy efficiency. Its sites are strategically located near renewable hubs, with plans to expand capacity.</a:t>
            </a:r>
          </a:p>
          <a:p>
            <a:pPr marL="720725" lvl="2" indent="0">
              <a:buFont typeface="Wingdings" panose="05000000000000000000" pitchFamily="2" charset="2"/>
              <a:buNone/>
            </a:pPr>
            <a:endParaRPr lang="en-GB">
              <a:cs typeface="Arial"/>
            </a:endParaRPr>
          </a:p>
          <a:p>
            <a:pPr marL="1006475" marR="0" lvl="2" indent="-285750" algn="l" defTabSz="914400" rtl="0" eaLnBrk="0" fontAlgn="base" latinLnBrk="0" hangingPunct="0">
              <a:lnSpc>
                <a:spcPct val="100000"/>
              </a:lnSpc>
              <a:spcBef>
                <a:spcPct val="30000"/>
              </a:spcBef>
              <a:spcAft>
                <a:spcPct val="0"/>
              </a:spcAft>
              <a:buClrTx/>
              <a:buSzTx/>
              <a:buFont typeface="Wingdings" panose="05000000000000000000" pitchFamily="2" charset="2"/>
              <a:buChar char="§"/>
              <a:tabLst/>
              <a:defRPr/>
            </a:pPr>
            <a:r>
              <a:rPr lang="en-GB">
                <a:cs typeface="Arial"/>
              </a:rPr>
              <a:t>Increased market opportunities due to growing customer demand for climate-resilient and low-carbon digital infra-structure. </a:t>
            </a:r>
            <a:r>
              <a:rPr lang="en-US" sz="1200" kern="1200">
                <a:solidFill>
                  <a:schemeClr val="tx1"/>
                </a:solidFill>
                <a:effectLst/>
                <a:latin typeface="+mn-lt"/>
                <a:ea typeface="+mn-ea"/>
                <a:cs typeface="+mn-cs"/>
              </a:rPr>
              <a:t>As climate change increases, customers increasingly prioritize the physical resilience and carbon footprint of digital infrastructure. Bulk takes a proactive approach to climate adaptation with strategic site selection, locating data centers in colder regions, offers a strategic advantage by reducing cooling needs and enabling access to renewable energy, positioning operators to meet rising sustainability demands and regulatory expectations.</a:t>
            </a:r>
          </a:p>
          <a:p>
            <a:pPr marL="720725" marR="0" lvl="2"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endParaRPr lang="en-GB">
              <a:cs typeface="Arial"/>
            </a:endParaRPr>
          </a:p>
          <a:p>
            <a:pPr marL="1006475" marR="0" lvl="2" indent="-285750" algn="l" defTabSz="914400" rtl="0" eaLnBrk="0" fontAlgn="base" latinLnBrk="0" hangingPunct="0">
              <a:lnSpc>
                <a:spcPct val="100000"/>
              </a:lnSpc>
              <a:spcBef>
                <a:spcPct val="30000"/>
              </a:spcBef>
              <a:spcAft>
                <a:spcPct val="0"/>
              </a:spcAft>
              <a:buClrTx/>
              <a:buSzTx/>
              <a:buFont typeface="Wingdings" panose="05000000000000000000" pitchFamily="2" charset="2"/>
              <a:buChar char="§"/>
              <a:tabLst/>
              <a:defRPr/>
            </a:pPr>
            <a:r>
              <a:rPr lang="en-GB">
                <a:cs typeface="Arial"/>
              </a:rPr>
              <a:t>Green and sustainable financing. </a:t>
            </a:r>
            <a:r>
              <a:rPr lang="en-US" sz="1200" kern="1200">
                <a:solidFill>
                  <a:schemeClr val="tx1"/>
                </a:solidFill>
                <a:effectLst/>
                <a:latin typeface="+mn-lt"/>
                <a:ea typeface="+mn-ea"/>
                <a:cs typeface="+mn-cs"/>
              </a:rPr>
              <a:t>The efforts made by Bulk to increase the environmental performance of its assets will make green, sustainable and sustainability-linked financing available. Bulk has established a competitive edge by issuing a green bond with Medium green shading by Cicero.</a:t>
            </a:r>
          </a:p>
          <a:p>
            <a:pPr marL="720725" marR="0" lvl="2"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endParaRPr lang="en-GB">
              <a:cs typeface="Arial"/>
            </a:endParaRPr>
          </a:p>
          <a:p>
            <a:pPr marL="1006475" marR="0" lvl="2" indent="-285750" algn="l" defTabSz="914400" rtl="0" eaLnBrk="0" fontAlgn="base" latinLnBrk="0" hangingPunct="0">
              <a:lnSpc>
                <a:spcPct val="100000"/>
              </a:lnSpc>
              <a:spcBef>
                <a:spcPct val="30000"/>
              </a:spcBef>
              <a:spcAft>
                <a:spcPct val="0"/>
              </a:spcAft>
              <a:buClrTx/>
              <a:buSzTx/>
              <a:buFont typeface="Wingdings" panose="05000000000000000000" pitchFamily="2" charset="2"/>
              <a:buChar char="§"/>
              <a:tabLst/>
              <a:defRPr/>
            </a:pPr>
            <a:r>
              <a:rPr lang="en-GB">
                <a:cs typeface="Arial"/>
              </a:rPr>
              <a:t>Advancing technologies. </a:t>
            </a:r>
            <a:r>
              <a:rPr lang="en-US" sz="1200" kern="1200">
                <a:solidFill>
                  <a:schemeClr val="tx1"/>
                </a:solidFill>
                <a:effectLst/>
                <a:latin typeface="+mn-lt"/>
                <a:ea typeface="+mn-ea"/>
                <a:cs typeface="+mn-cs"/>
              </a:rPr>
              <a:t>New legislation and stakeholders’ expectations for sustainable solutions create an opportunity for Bulk to be a front runner that can contribute to finding new solutions. Bulk has a strong focus on R&amp;D, and climate-related risks and opportunities. Feasibility studies have been undertaken to explore the use of heat from our data centers and to develop partnerships to find solutions for circular industry clusters.</a:t>
            </a:r>
            <a:endParaRPr lang="en-GB" sz="1200" kern="1200">
              <a:solidFill>
                <a:schemeClr val="tx1"/>
              </a:solidFill>
              <a:effectLst/>
              <a:latin typeface="+mn-lt"/>
              <a:ea typeface="+mn-ea"/>
              <a:cs typeface="+mn-cs"/>
            </a:endParaRPr>
          </a:p>
          <a:p>
            <a:pPr marL="720725" lvl="2" indent="0">
              <a:buFont typeface="Wingdings" panose="05000000000000000000" pitchFamily="2" charset="2"/>
              <a:buNone/>
            </a:pPr>
            <a:endParaRPr lang="en-GB">
              <a:cs typeface="Arial"/>
            </a:endParaRPr>
          </a:p>
          <a:p>
            <a:pPr marL="720725" lvl="2" indent="0">
              <a:buNone/>
            </a:pPr>
            <a:endParaRPr lang="en-US">
              <a:cs typeface="Arial"/>
            </a:endParaRPr>
          </a:p>
          <a:p>
            <a:pPr marL="715645" lvl="1" indent="-356870"/>
            <a:r>
              <a:rPr lang="en-US">
                <a:cs typeface="Arial"/>
              </a:rPr>
              <a:t>Risks</a:t>
            </a:r>
          </a:p>
          <a:p>
            <a:pPr marL="1006475" marR="0" lvl="2" indent="-285750" algn="l" defTabSz="914400" rtl="0" eaLnBrk="0" fontAlgn="base" latinLnBrk="0" hangingPunct="0">
              <a:lnSpc>
                <a:spcPct val="100000"/>
              </a:lnSpc>
              <a:spcBef>
                <a:spcPct val="30000"/>
              </a:spcBef>
              <a:spcAft>
                <a:spcPct val="0"/>
              </a:spcAft>
              <a:buClrTx/>
              <a:buSzTx/>
              <a:buFont typeface="Wingdings" panose="05000000000000000000" pitchFamily="2" charset="2"/>
              <a:buChar char="§"/>
              <a:tabLst/>
              <a:defRPr/>
            </a:pPr>
            <a:r>
              <a:rPr lang="en-GB">
                <a:cs typeface="Arial"/>
              </a:rPr>
              <a:t>Stricter land use regulations: </a:t>
            </a:r>
            <a:r>
              <a:rPr lang="en-US" sz="1200" kern="1200">
                <a:solidFill>
                  <a:schemeClr val="tx1"/>
                </a:solidFill>
                <a:effectLst/>
                <a:latin typeface="+mn-lt"/>
                <a:ea typeface="+mn-ea"/>
                <a:cs typeface="+mn-cs"/>
              </a:rPr>
              <a:t>Stricter land use regulations may limit development areas and increase time and cost for project approvals.</a:t>
            </a:r>
            <a:r>
              <a:rPr lang="en-GB" sz="1200" kern="1200">
                <a:solidFill>
                  <a:schemeClr val="tx1"/>
                </a:solidFill>
                <a:effectLst/>
                <a:latin typeface="+mn-lt"/>
                <a:ea typeface="+mn-ea"/>
                <a:cs typeface="+mn-cs"/>
              </a:rPr>
              <a:t> </a:t>
            </a:r>
            <a:r>
              <a:rPr lang="en-US" sz="1200" kern="1200">
                <a:solidFill>
                  <a:schemeClr val="tx1"/>
                </a:solidFill>
                <a:effectLst/>
                <a:latin typeface="+mn-lt"/>
                <a:ea typeface="+mn-ea"/>
                <a:cs typeface="+mn-cs"/>
              </a:rPr>
              <a:t>Bulk addresses this risk by allocating more time and resources to project planning, including close collaboration with local and national authorities. External experts such as ecologists are engaged to assess sites and implement biodiversity restoration measures.</a:t>
            </a:r>
            <a:endParaRPr lang="en-GB" sz="1200" kern="1200">
              <a:solidFill>
                <a:schemeClr val="tx1"/>
              </a:solidFill>
              <a:effectLst/>
              <a:latin typeface="+mn-lt"/>
              <a:ea typeface="+mn-ea"/>
              <a:cs typeface="+mn-cs"/>
            </a:endParaRPr>
          </a:p>
          <a:p>
            <a:pPr marL="720725" marR="0" lvl="2"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endParaRPr lang="en-GB">
              <a:cs typeface="Arial"/>
            </a:endParaRPr>
          </a:p>
          <a:p>
            <a:pPr marL="1006475" lvl="2" indent="-285750">
              <a:buFont typeface="Wingdings" panose="05000000000000000000" pitchFamily="2" charset="2"/>
              <a:buChar char="§"/>
            </a:pPr>
            <a:r>
              <a:rPr lang="en-GB">
                <a:cs typeface="Arial"/>
              </a:rPr>
              <a:t>Changes in climate-related regulations. Operators of digital </a:t>
            </a:r>
            <a:r>
              <a:rPr lang="en-GB" err="1">
                <a:cs typeface="Arial"/>
              </a:rPr>
              <a:t>infrasrcuture</a:t>
            </a:r>
            <a:r>
              <a:rPr lang="en-GB">
                <a:cs typeface="Arial"/>
              </a:rPr>
              <a:t> face transition risks from tightening climate regulations and sustainability reporting, potentially leading to increased project costs. Bulk collaborates with industry leaders through the Climate-Neutral Data </a:t>
            </a:r>
            <a:r>
              <a:rPr lang="en-GB" err="1">
                <a:cs typeface="Arial"/>
              </a:rPr>
              <a:t>Center</a:t>
            </a:r>
            <a:r>
              <a:rPr lang="en-GB">
                <a:cs typeface="Arial"/>
              </a:rPr>
              <a:t> Pact, </a:t>
            </a:r>
            <a:r>
              <a:rPr lang="en-GB" err="1">
                <a:cs typeface="Arial"/>
              </a:rPr>
              <a:t>iMasons</a:t>
            </a:r>
            <a:r>
              <a:rPr lang="en-GB">
                <a:cs typeface="Arial"/>
              </a:rPr>
              <a:t>, and local organisations like ZERO (Zero-</a:t>
            </a:r>
            <a:r>
              <a:rPr lang="en-GB" err="1">
                <a:cs typeface="Arial"/>
              </a:rPr>
              <a:t>emissisons</a:t>
            </a:r>
            <a:r>
              <a:rPr lang="en-GB">
                <a:cs typeface="Arial"/>
              </a:rPr>
              <a:t> resource organisation in Oslo, Norway) to stay ahead of regulatory changes.</a:t>
            </a:r>
          </a:p>
          <a:p>
            <a:endParaRPr lang="en-GB"/>
          </a:p>
          <a:p>
            <a:pPr marL="356870" indent="-356870"/>
            <a:r>
              <a:rPr lang="en-US">
                <a:cs typeface="Arial"/>
              </a:rPr>
              <a:t>Physical</a:t>
            </a:r>
          </a:p>
          <a:p>
            <a:pPr marL="715645" lvl="1" indent="-356870"/>
            <a:r>
              <a:rPr lang="en-US">
                <a:cs typeface="Arial"/>
              </a:rPr>
              <a:t>Risks</a:t>
            </a:r>
          </a:p>
          <a:p>
            <a:pPr marL="1077595" lvl="2" indent="-356870">
              <a:buFont typeface="Wingdings" panose="05000000000000000000" pitchFamily="2" charset="2"/>
              <a:buChar char="§"/>
            </a:pPr>
            <a:r>
              <a:rPr lang="en-GB">
                <a:cs typeface="Arial"/>
              </a:rPr>
              <a:t>Intense rainfall and ground instability: to mitigate climate risks, Bulk conducts due diligence before investing in new sites, prioritizing locations with low exposure to flooding, landslides or surface erosion. None of Bulk’s current data </a:t>
            </a:r>
            <a:r>
              <a:rPr lang="en-GB" err="1">
                <a:cs typeface="Arial"/>
              </a:rPr>
              <a:t>centers</a:t>
            </a:r>
            <a:r>
              <a:rPr lang="en-GB">
                <a:cs typeface="Arial"/>
              </a:rPr>
              <a:t> are in areas exposed to land-slides or surface erosion. All assets are built with proper drainage and in compliance with the Planning and Building Acts in Norway and Denmark.</a:t>
            </a:r>
          </a:p>
          <a:p>
            <a:pPr marL="1077595" lvl="2" indent="-356870">
              <a:buFont typeface="Wingdings" panose="05000000000000000000" pitchFamily="2" charset="2"/>
              <a:buChar char="§"/>
            </a:pPr>
            <a:r>
              <a:rPr lang="en-GB">
                <a:cs typeface="Arial"/>
              </a:rPr>
              <a:t>Wildfires: </a:t>
            </a:r>
            <a:r>
              <a:rPr lang="en-US" sz="1200" kern="1200">
                <a:solidFill>
                  <a:schemeClr val="tx1"/>
                </a:solidFill>
                <a:effectLst/>
                <a:latin typeface="+mn-lt"/>
                <a:ea typeface="+mn-ea"/>
                <a:cs typeface="+mn-cs"/>
              </a:rPr>
              <a:t>Wildfires are seen as a compound risk in Norway, although Norway with the colder climate is less exposed to wild-fires than in Southern Europe. Wildfires can potentially occur in connection with chronic risks such as drought, and sea-sonal extreme episodes like heatwaves. Each Bulk site has a business continuity plan that includes fire response procedures. Bulk also collaborated with local municipalities and emergency services on fire safety and response.</a:t>
            </a:r>
            <a:endParaRPr lang="en-US">
              <a:cs typeface="Arial"/>
            </a:endParaRPr>
          </a:p>
          <a:p>
            <a:endParaRPr lang="en-GB"/>
          </a:p>
          <a:p>
            <a:endParaRPr lang="en-GB"/>
          </a:p>
          <a:p>
            <a:endParaRPr lang="en-GB"/>
          </a:p>
          <a:p>
            <a:endParaRPr lang="nb-NO"/>
          </a:p>
        </p:txBody>
      </p:sp>
      <p:sp>
        <p:nvSpPr>
          <p:cNvPr id="4" name="Plassholder for lysbildenummer 3">
            <a:extLst>
              <a:ext uri="{FF2B5EF4-FFF2-40B4-BE49-F238E27FC236}">
                <a16:creationId xmlns:a16="http://schemas.microsoft.com/office/drawing/2014/main" id="{CF76AFBA-AD0E-1E74-B518-A94EC52577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0FF03-E1D7-4F25-8F20-31F54B8CCD0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998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4338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200" b="1" kern="1200" dirty="0">
                <a:solidFill>
                  <a:schemeClr val="tx1"/>
                </a:solidFill>
                <a:effectLst/>
                <a:latin typeface="+mn-lt"/>
                <a:ea typeface="+mn-ea"/>
                <a:cs typeface="+mn-cs"/>
              </a:rPr>
              <a:t>Bulk continuously strives to improve our sustainability practices and reporting. By actively responding to evolving stakeholder expectations and regulatory requirements, we aim to enhance transparency, accountability and long-term value creation.</a:t>
            </a:r>
          </a:p>
          <a:p>
            <a:endParaRPr lang="en-US" sz="1200" b="1" kern="1200" dirty="0">
              <a:solidFill>
                <a:schemeClr val="tx1"/>
              </a:solidFill>
              <a:effectLst/>
              <a:latin typeface="+mn-lt"/>
              <a:ea typeface="+mn-ea"/>
              <a:cs typeface="+mn-cs"/>
            </a:endParaRPr>
          </a:p>
          <a:p>
            <a:r>
              <a:rPr lang="en-GB" sz="1200" b="0" kern="1200" dirty="0">
                <a:solidFill>
                  <a:schemeClr val="tx1"/>
                </a:solidFill>
                <a:effectLst/>
                <a:latin typeface="+mn-lt"/>
                <a:ea typeface="+mn-ea"/>
                <a:cs typeface="+mn-cs"/>
              </a:rPr>
              <a:t>Our main sustainability action and reporting focus areas going forwards include:</a:t>
            </a:r>
          </a:p>
          <a:p>
            <a:pPr marL="171450" indent="-171450">
              <a:buFontTx/>
              <a:buChar char="-"/>
            </a:pPr>
            <a:r>
              <a:rPr lang="en-GB" sz="1200" b="0" kern="1200" dirty="0">
                <a:solidFill>
                  <a:schemeClr val="tx1"/>
                </a:solidFill>
                <a:effectLst/>
                <a:latin typeface="+mn-lt"/>
                <a:ea typeface="+mn-ea"/>
                <a:cs typeface="+mn-cs"/>
              </a:rPr>
              <a:t>Continuously improving our GHG emissions accounting when it comes to our indirect value chain impacts (Scope 3)</a:t>
            </a:r>
          </a:p>
          <a:p>
            <a:pPr marL="171450" indent="-171450">
              <a:buFontTx/>
              <a:buChar char="-"/>
            </a:pPr>
            <a:r>
              <a:rPr lang="en-GB" sz="1200" b="0" kern="1200" dirty="0">
                <a:solidFill>
                  <a:schemeClr val="tx1"/>
                </a:solidFill>
                <a:effectLst/>
                <a:latin typeface="+mn-lt"/>
                <a:ea typeface="+mn-ea"/>
                <a:cs typeface="+mn-cs"/>
              </a:rPr>
              <a:t>Further developing our CSRD-aligned Double materiality assessment which assesses how our company impacts people and the environment and in turn how our company may be financially impacted by environmental and social dependencies (e.g. through physical effects of climate change). As a result of omnibus, and CSRD no longer targeting companies with less than 1000 employees, Bulk is no longer preparing a fully CSRD-compliant report. We are in the process of evaluating whether the EFRAG Voluntary SME standard would make sense for us.</a:t>
            </a:r>
          </a:p>
          <a:p>
            <a:pPr marL="171450" indent="-171450">
              <a:buFontTx/>
              <a:buChar char="-"/>
            </a:pPr>
            <a:r>
              <a:rPr lang="en-GB" sz="1200" b="0" kern="1200" dirty="0">
                <a:solidFill>
                  <a:schemeClr val="tx1"/>
                </a:solidFill>
                <a:effectLst/>
                <a:latin typeface="+mn-lt"/>
                <a:ea typeface="+mn-ea"/>
                <a:cs typeface="+mn-cs"/>
              </a:rPr>
              <a:t>Ensuring our sustainability-related impacts, risks and opportunity management remains a fully integrated part of our busines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mn-ea"/>
                <a:cs typeface="+mn-cs"/>
              </a:rPr>
              <a:t> - </a:t>
            </a:r>
            <a:r>
              <a:rPr lang="en-GB" sz="1200" b="0" kern="1200" dirty="0">
                <a:solidFill>
                  <a:schemeClr val="tx1"/>
                </a:solidFill>
                <a:effectLst/>
                <a:latin typeface="+mn-lt"/>
                <a:ea typeface="+mn-ea"/>
                <a:cs typeface="+mn-cs"/>
              </a:rPr>
              <a:t>Climate budgeting: developing our emission-reduction pla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s part of our commitment to aligning with emerging standards, we are actively assessing the relevance and applicability of the EU Taxonomy, particularly Annex A. Although full reporting under the taxonomy is not yet mandatory for our operations, we recognize the value of its framework in guiding robust climate risk assessments. We are therefore working</a:t>
            </a:r>
            <a:endParaRPr lang="en-GB"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integrate its principles into our internal processes on how we identify, evaluate, and manage climate-related risks and opportunities.</a:t>
            </a:r>
            <a:endParaRPr lang="en-GB" sz="1200" kern="1200" dirty="0">
              <a:solidFill>
                <a:schemeClr val="tx1"/>
              </a:solidFill>
              <a:effectLst/>
              <a:latin typeface="+mn-lt"/>
              <a:ea typeface="+mn-ea"/>
              <a:cs typeface="+mn-cs"/>
            </a:endParaRPr>
          </a:p>
          <a:p>
            <a:endParaRPr lang="en-GB" dirty="0">
              <a:solidFill>
                <a:srgbClr val="FFFFFF"/>
              </a:solidFill>
              <a:latin typeface="Arial"/>
              <a:cs typeface="Arial"/>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0FF03-E1D7-4F25-8F20-31F54B8CCD0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8634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6626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Batterier og </a:t>
            </a:r>
            <a:r>
              <a:rPr lang="nb-NO" err="1"/>
              <a:t>nødstrømsaggregater</a:t>
            </a:r>
            <a:r>
              <a:rPr lang="nb-NO"/>
              <a:t> er allerede velegnet for å levere tjenester til ovenforliggende nett</a:t>
            </a:r>
          </a:p>
          <a:p>
            <a:r>
              <a:rPr lang="nb-NO"/>
              <a:t>I dag er ikke styringssystemene på datasentrene rigget for å kunne eksportere kraft fra nødstrømsaggregatene inn til overliggende regional- og distribusjonsnett.  Men dette er det mulig å tilpasse, og sentrene vil da framstå med betydelig produksjonskapasitet inn mot det norske kraftmarkedet.</a:t>
            </a:r>
          </a:p>
          <a:p>
            <a:endParaRPr lang="nb-NO"/>
          </a:p>
          <a:p>
            <a:endParaRPr lang="en-GB"/>
          </a:p>
        </p:txBody>
      </p:sp>
      <p:sp>
        <p:nvSpPr>
          <p:cNvPr id="4" name="Slide Number Placeholder 3"/>
          <p:cNvSpPr>
            <a:spLocks noGrp="1"/>
          </p:cNvSpPr>
          <p:nvPr>
            <p:ph type="sldNum" sz="quarter" idx="5"/>
          </p:nvPr>
        </p:nvSpPr>
        <p:spPr/>
        <p:txBody>
          <a:bodyPr/>
          <a:lstStyle/>
          <a:p>
            <a:pPr>
              <a:defRPr/>
            </a:pPr>
            <a:fld id="{953D4169-02C8-444A-A0D4-F78ACBC46661}" type="slidenum">
              <a:rPr lang="en-US" smtClean="0"/>
              <a:pPr>
                <a:defRPr/>
              </a:pPr>
              <a:t>35</a:t>
            </a:fld>
            <a:endParaRPr lang="en-US"/>
          </a:p>
        </p:txBody>
      </p:sp>
    </p:spTree>
    <p:extLst>
      <p:ext uri="{BB962C8B-B14F-4D97-AF65-F5344CB8AC3E}">
        <p14:creationId xmlns:p14="http://schemas.microsoft.com/office/powerpoint/2010/main" val="14059185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25DA18-FCDA-4B75-9D00-103709D82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3760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ar </a:t>
            </a:r>
            <a:r>
              <a:rPr lang="en-GB" err="1"/>
              <a:t>lagt</a:t>
            </a:r>
            <a:r>
              <a:rPr lang="en-GB"/>
              <a:t> inn hyperlink </a:t>
            </a:r>
            <a:r>
              <a:rPr lang="en-GB" err="1"/>
              <a:t>til</a:t>
            </a:r>
            <a:r>
              <a:rPr lang="en-GB"/>
              <a:t> Leif Erikson </a:t>
            </a:r>
            <a:r>
              <a:rPr lang="en-GB" err="1"/>
              <a:t>filmen</a:t>
            </a:r>
            <a:r>
              <a:rPr lang="en-GB"/>
              <a:t> </a:t>
            </a:r>
            <a:r>
              <a:rPr lang="en-GB" err="1"/>
              <a:t>i</a:t>
            </a:r>
            <a:r>
              <a:rPr lang="en-GB"/>
              <a:t> </a:t>
            </a:r>
            <a:r>
              <a:rPr lang="en-GB" err="1"/>
              <a:t>tittelen</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25DA18-FCDA-4B75-9D00-103709D82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3392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0F0EA9-962A-4117-8230-BFB5641C73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710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a:p>
            <a:r>
              <a:rPr lang="nb-NO" dirty="0">
                <a:cs typeface="Calibri"/>
              </a:rPr>
              <a:t>Sustainability as a business – </a:t>
            </a:r>
            <a:r>
              <a:rPr lang="nb-NO" dirty="0" err="1">
                <a:cs typeface="Calibri"/>
              </a:rPr>
              <a:t>identifying</a:t>
            </a:r>
            <a:r>
              <a:rPr lang="nb-NO" dirty="0">
                <a:cs typeface="Calibri"/>
              </a:rPr>
              <a:t> </a:t>
            </a:r>
            <a:r>
              <a:rPr lang="nb-NO" dirty="0" err="1">
                <a:cs typeface="Calibri"/>
              </a:rPr>
              <a:t>ways</a:t>
            </a:r>
            <a:r>
              <a:rPr lang="nb-NO" dirty="0">
                <a:cs typeface="Calibri"/>
              </a:rPr>
              <a:t> to make a positive </a:t>
            </a:r>
            <a:r>
              <a:rPr lang="nb-NO" dirty="0" err="1">
                <a:cs typeface="Calibri"/>
              </a:rPr>
              <a:t>impact</a:t>
            </a:r>
            <a:r>
              <a:rPr lang="nb-NO" dirty="0">
                <a:cs typeface="Calibri"/>
              </a:rPr>
              <a:t> </a:t>
            </a:r>
            <a:r>
              <a:rPr lang="nb-NO" dirty="0" err="1">
                <a:cs typeface="Calibri"/>
              </a:rPr>
              <a:t>on</a:t>
            </a:r>
            <a:r>
              <a:rPr lang="nb-NO" dirty="0">
                <a:cs typeface="Calibri"/>
              </a:rPr>
              <a:t> </a:t>
            </a:r>
            <a:r>
              <a:rPr lang="nb-NO" dirty="0" err="1">
                <a:cs typeface="Calibri"/>
              </a:rPr>
              <a:t>our</a:t>
            </a:r>
            <a:r>
              <a:rPr lang="nb-NO" dirty="0">
                <a:cs typeface="Calibri"/>
              </a:rPr>
              <a:t> </a:t>
            </a:r>
            <a:r>
              <a:rPr lang="nb-NO" dirty="0" err="1">
                <a:cs typeface="Calibri"/>
              </a:rPr>
              <a:t>environment</a:t>
            </a:r>
            <a:endParaRPr lang="nb-NO" dirty="0">
              <a:cs typeface="Calibri"/>
            </a:endParaRPr>
          </a:p>
          <a:p>
            <a:endParaRPr lang="en-GB" dirty="0">
              <a:cs typeface="Calibri" panose="020F0502020204030204"/>
            </a:endParaRPr>
          </a:p>
          <a:p>
            <a:r>
              <a:rPr lang="nb-NO" dirty="0"/>
              <a:t>Our VISION: </a:t>
            </a:r>
            <a:endParaRPr lang="en-GB" dirty="0"/>
          </a:p>
          <a:p>
            <a:r>
              <a:rPr lang="nb-NO" dirty="0"/>
              <a:t>Racing to bring </a:t>
            </a:r>
            <a:r>
              <a:rPr lang="nb-NO" dirty="0" err="1"/>
              <a:t>sustainable</a:t>
            </a:r>
            <a:r>
              <a:rPr lang="nb-NO" dirty="0"/>
              <a:t> </a:t>
            </a:r>
            <a:r>
              <a:rPr lang="nb-NO" dirty="0" err="1"/>
              <a:t>infrastructure</a:t>
            </a:r>
            <a:r>
              <a:rPr lang="nb-NO" dirty="0"/>
              <a:t> to a global </a:t>
            </a:r>
            <a:r>
              <a:rPr lang="nb-NO" dirty="0" err="1"/>
              <a:t>audience</a:t>
            </a:r>
            <a:endParaRPr lang="en-GB" dirty="0">
              <a:cs typeface="Calibri"/>
            </a:endParaRPr>
          </a:p>
        </p:txBody>
      </p:sp>
      <p:sp>
        <p:nvSpPr>
          <p:cNvPr id="4" name="Plassholder for lysbildenummer 3"/>
          <p:cNvSpPr>
            <a:spLocks noGrp="1"/>
          </p:cNvSpPr>
          <p:nvPr>
            <p:ph type="sldNum" sz="quarter" idx="5"/>
          </p:nvPr>
        </p:nvSpPr>
        <p:spPr/>
        <p:txBody>
          <a:bodyPr/>
          <a:lstStyle/>
          <a:p>
            <a:pPr>
              <a:defRPr/>
            </a:pPr>
            <a:fld id="{953D4169-02C8-444A-A0D4-F78ACBC46661}" type="slidenum">
              <a:rPr lang="en-US" smtClean="0"/>
              <a:pPr>
                <a:defRPr/>
              </a:pPr>
              <a:t>5</a:t>
            </a:fld>
            <a:endParaRPr lang="en-US"/>
          </a:p>
        </p:txBody>
      </p:sp>
    </p:spTree>
    <p:extLst>
      <p:ext uri="{BB962C8B-B14F-4D97-AF65-F5344CB8AC3E}">
        <p14:creationId xmlns:p14="http://schemas.microsoft.com/office/powerpoint/2010/main" val="40777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9853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527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300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D717B-AC68-4842-4849-439CC12A44F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496859F-BF3D-F20D-8D83-8F42A57D1BEE}"/>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F0C07915-D684-4BDF-A9B0-05C6EDE171CE}"/>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Sustainability is a work in progress, and we continuously seek to make impact as per our </a:t>
            </a:r>
            <a:r>
              <a:rPr lang="en-GB" b="1" dirty="0"/>
              <a:t>Sustainability framework.</a:t>
            </a:r>
          </a:p>
          <a:p>
            <a:pPr marL="0" indent="0">
              <a:buNone/>
            </a:pPr>
            <a:endParaRPr lang="en-US" dirty="0">
              <a:cs typeface="Arial"/>
            </a:endParaRPr>
          </a:p>
          <a:p>
            <a:pPr marL="0" indent="0">
              <a:buNone/>
            </a:pPr>
            <a:r>
              <a:rPr lang="en-US" dirty="0">
                <a:cs typeface="Calibri"/>
              </a:rPr>
              <a:t>When we say “sustainable digital infrastructure”, we mean projects that align with the following criteria:</a:t>
            </a:r>
            <a:endParaRPr lang="en-US" dirty="0">
              <a:ea typeface="Calibri"/>
              <a:cs typeface="Calibri"/>
            </a:endParaRPr>
          </a:p>
          <a:p>
            <a:pPr marL="171450" indent="-171450">
              <a:buFont typeface="Arial"/>
              <a:buChar char="•"/>
            </a:pPr>
            <a:r>
              <a:rPr lang="en-US" dirty="0"/>
              <a:t>Are located in Norway and benefit from its predominantly renewable electricity mix</a:t>
            </a:r>
            <a:endParaRPr lang="en-GB" dirty="0"/>
          </a:p>
          <a:p>
            <a:pPr marL="171450" indent="-171450">
              <a:buFont typeface="Arial"/>
              <a:buChar char="•"/>
            </a:pPr>
            <a:r>
              <a:rPr lang="en-US" dirty="0"/>
              <a:t>Achieve either:</a:t>
            </a:r>
            <a:endParaRPr lang="en-GB" dirty="0"/>
          </a:p>
          <a:p>
            <a:pPr marL="628650" lvl="1" indent="-171450">
              <a:buFont typeface="Arial"/>
              <a:buChar char="•"/>
            </a:pPr>
            <a:r>
              <a:rPr lang="en-US" dirty="0"/>
              <a:t>Actual PUE ≤ 1.40 for renovated or repurposed buildings</a:t>
            </a:r>
            <a:endParaRPr lang="en-GB" dirty="0"/>
          </a:p>
          <a:p>
            <a:pPr marL="628650" lvl="1" indent="-171450">
              <a:buFont typeface="Arial"/>
              <a:buChar char="•"/>
            </a:pPr>
            <a:r>
              <a:rPr lang="en-US" dirty="0"/>
              <a:t>Design PUE ≤ 1.20 for new builds</a:t>
            </a:r>
            <a:endParaRPr lang="en-GB" dirty="0"/>
          </a:p>
          <a:p>
            <a:pPr marL="171450" indent="-171450">
              <a:buFont typeface="Arial"/>
              <a:buChar char="•"/>
            </a:pPr>
            <a:r>
              <a:rPr lang="en-US" dirty="0"/>
              <a:t>Have completed a physical climate risk assessment aligned with Annex A of the EU Taxonomy Regulation</a:t>
            </a:r>
            <a:endParaRPr lang="en-GB" dirty="0"/>
          </a:p>
          <a:p>
            <a:pPr marL="171450" indent="-171450">
              <a:buFont typeface="Arial"/>
              <a:buChar char="•"/>
            </a:pPr>
            <a:r>
              <a:rPr lang="en-US" dirty="0"/>
              <a:t>Have implemented all “expected practices” from the European Code of Conduct on Data Centre Energy Efficiency</a:t>
            </a:r>
            <a:endParaRPr lang="en-GB" dirty="0"/>
          </a:p>
          <a:p>
            <a:pPr marL="171450" indent="-171450">
              <a:buFont typeface="Arial"/>
              <a:buChar char="•"/>
            </a:pPr>
            <a:r>
              <a:rPr lang="en-US" dirty="0"/>
              <a:t>Are assessed for additional practical and cost‑effective features, such as on-site renewable energy generation or heat re-use infrastructure</a:t>
            </a:r>
            <a:endParaRPr lang="en-GB" dirty="0"/>
          </a:p>
          <a:p>
            <a:endParaRPr lang="en-GB" b="1" dirty="0">
              <a:ea typeface="Calibri"/>
              <a:cs typeface="Calibri"/>
            </a:endParaRPr>
          </a:p>
          <a:p>
            <a:r>
              <a:rPr lang="en-GB" b="1" dirty="0"/>
              <a:t>What is PUE?</a:t>
            </a:r>
          </a:p>
          <a:p>
            <a:r>
              <a:rPr lang="en-GB" dirty="0"/>
              <a:t>PUE = Total data </a:t>
            </a:r>
            <a:r>
              <a:rPr lang="en-GB" dirty="0" err="1"/>
              <a:t>center</a:t>
            </a:r>
            <a:r>
              <a:rPr lang="en-GB" dirty="0"/>
              <a:t> facility power consumption / Customer power consumption</a:t>
            </a:r>
            <a:endParaRPr lang="en-GB" dirty="0">
              <a:ea typeface="Calibri"/>
              <a:cs typeface="Calibri"/>
            </a:endParaRPr>
          </a:p>
          <a:p>
            <a:r>
              <a:rPr lang="en-GB" dirty="0"/>
              <a:t>PUE is defined as the targeted PUE value for a data </a:t>
            </a:r>
            <a:r>
              <a:rPr lang="en-GB" dirty="0" err="1"/>
              <a:t>center</a:t>
            </a:r>
            <a:r>
              <a:rPr lang="en-GB" dirty="0"/>
              <a:t> based on its engineering design under ideal operating conditions, including customer loads and ambient temperature.</a:t>
            </a:r>
            <a:endParaRPr lang="en-GB" dirty="0">
              <a:ea typeface="Calibri"/>
              <a:cs typeface="Calibri"/>
            </a:endParaRPr>
          </a:p>
        </p:txBody>
      </p:sp>
      <p:sp>
        <p:nvSpPr>
          <p:cNvPr id="4" name="Plassholder for lysbildenummer 3">
            <a:extLst>
              <a:ext uri="{FF2B5EF4-FFF2-40B4-BE49-F238E27FC236}">
                <a16:creationId xmlns:a16="http://schemas.microsoft.com/office/drawing/2014/main" id="{F079B7A6-A75F-E631-8135-7A9AEB8ED8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0FF03-E1D7-4F25-8F20-31F54B8CCD0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07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cs typeface="Calibri"/>
              </a:rPr>
              <a:t>We define sustainability through an </a:t>
            </a:r>
            <a:r>
              <a:rPr lang="en-GB" b="1" dirty="0">
                <a:cs typeface="Calibri"/>
              </a:rPr>
              <a:t>ESG-lens, covering environmental, social and governance factors. </a:t>
            </a:r>
            <a:endParaRPr lang="en-US" b="1" dirty="0"/>
          </a:p>
          <a:p>
            <a:endParaRPr lang="en-GB" dirty="0">
              <a:cs typeface="Calibri"/>
            </a:endParaRPr>
          </a:p>
          <a:p>
            <a:pPr marL="0" indent="0">
              <a:buNone/>
            </a:pPr>
            <a:r>
              <a:rPr lang="en-GB" dirty="0">
                <a:cs typeface="Calibri"/>
              </a:rPr>
              <a:t>We support a pre-cautionary approach to environmental challenges and undertake initiatives to promote responsible business conduct.</a:t>
            </a:r>
          </a:p>
          <a:p>
            <a:endParaRPr lang="en-GB" dirty="0">
              <a:cs typeface="Calibri"/>
            </a:endParaRPr>
          </a:p>
          <a:p>
            <a:r>
              <a:rPr lang="en-GB" dirty="0">
                <a:cs typeface="Calibri"/>
              </a:rPr>
              <a:t>Bulk has developed and implemented a sustainability framework on how we work with sustainability that consists of four perspectives; Location, Asset, Ecosystem and Society</a:t>
            </a:r>
            <a:endParaRPr lang="en-GB" dirty="0"/>
          </a:p>
          <a:p>
            <a:endParaRPr lang="en-GB" dirty="0">
              <a:cs typeface="Calibri"/>
            </a:endParaRPr>
          </a:p>
          <a:p>
            <a:r>
              <a:rPr lang="en-GB" dirty="0">
                <a:cs typeface="Calibri"/>
              </a:rPr>
              <a:t>What does it really mean??</a:t>
            </a:r>
          </a:p>
          <a:p>
            <a:endParaRPr lang="en-GB" dirty="0">
              <a:cs typeface="Calibri"/>
            </a:endParaRPr>
          </a:p>
          <a:p>
            <a:endParaRPr lang="en-GB" dirty="0">
              <a:cs typeface="Calibri"/>
            </a:endParaRPr>
          </a:p>
          <a:p>
            <a:r>
              <a:rPr lang="en-GB" dirty="0">
                <a:cs typeface="Calibri"/>
              </a:rPr>
              <a:t>Location </a:t>
            </a:r>
          </a:p>
          <a:p>
            <a:r>
              <a:rPr lang="en-GB" dirty="0">
                <a:cs typeface="Calibri"/>
              </a:rPr>
              <a:t>Assets </a:t>
            </a:r>
          </a:p>
          <a:p>
            <a:r>
              <a:rPr lang="en-GB" dirty="0">
                <a:cs typeface="Calibri"/>
              </a:rPr>
              <a:t>Ecosystem </a:t>
            </a:r>
          </a:p>
          <a:p>
            <a:r>
              <a:rPr lang="en-GB" dirty="0">
                <a:cs typeface="Calibri"/>
              </a:rPr>
              <a:t>Society</a:t>
            </a:r>
            <a:endParaRPr lang="en-GB" dirty="0"/>
          </a:p>
          <a:p>
            <a:endParaRPr lang="en-GB" dirty="0">
              <a:cs typeface="Calibri"/>
            </a:endParaRPr>
          </a:p>
          <a:p>
            <a:r>
              <a:rPr lang="en-GB" b="1" dirty="0">
                <a:cs typeface="Calibri"/>
              </a:rPr>
              <a:t>How do we minimize the negative effect our choices have to the society in short and long-term. </a:t>
            </a:r>
          </a:p>
          <a:p>
            <a:r>
              <a:rPr lang="en-GB" b="1" dirty="0">
                <a:cs typeface="Calibri"/>
              </a:rPr>
              <a:t>How can we optimize the positive effect of our choices.</a:t>
            </a:r>
          </a:p>
          <a:p>
            <a:endParaRPr lang="en-GB" dirty="0">
              <a:cs typeface="Calibri"/>
            </a:endParaRPr>
          </a:p>
          <a:p>
            <a:endParaRPr lang="en-GB"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B891-9728-48D5-B151-EB6C84FB2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3037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9.bin"/><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24.bin"/><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7.bin"/><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5.bin"/><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6.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7.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7.bin"/><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8.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9.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0.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52.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24.bin"/><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7.bin"/><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9.bin"/><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27.bin"/><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29.bin"/><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31.bin"/><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33.bin"/><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72.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3.bin"/><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5.bin"/><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7.bin"/><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oleObject" Target="../embeddings/oleObject9.bin"/><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1.bin"/><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11.bin"/><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13.bin"/><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15.bin"/><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17.bin"/><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91.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92.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93.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9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3.bin"/><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8.xml"/><Relationship Id="rId1" Type="http://schemas.openxmlformats.org/officeDocument/2006/relationships/tags" Target="../tags/tag9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96.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97.xml"/><Relationship Id="rId5" Type="http://schemas.openxmlformats.org/officeDocument/2006/relationships/image" Target="../media/image17.jpe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8.xml"/><Relationship Id="rId1" Type="http://schemas.openxmlformats.org/officeDocument/2006/relationships/tags" Target="../tags/tag98.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99.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8.xml"/><Relationship Id="rId1" Type="http://schemas.openxmlformats.org/officeDocument/2006/relationships/tags" Target="../tags/tag100.xml"/><Relationship Id="rId5" Type="http://schemas.openxmlformats.org/officeDocument/2006/relationships/image" Target="../media/image20.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8.xml"/><Relationship Id="rId1" Type="http://schemas.openxmlformats.org/officeDocument/2006/relationships/tags" Target="../tags/tag101.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8.xml"/><Relationship Id="rId1" Type="http://schemas.openxmlformats.org/officeDocument/2006/relationships/tags" Target="../tags/tag102.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8.xml"/><Relationship Id="rId1" Type="http://schemas.openxmlformats.org/officeDocument/2006/relationships/tags" Target="../tags/tag103.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9.bin"/><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15.bin"/><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8.xml"/><Relationship Id="rId1" Type="http://schemas.openxmlformats.org/officeDocument/2006/relationships/tags" Target="../tags/tag106.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8.xml"/><Relationship Id="rId1" Type="http://schemas.openxmlformats.org/officeDocument/2006/relationships/tags" Target="../tags/tag107.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8.xml"/><Relationship Id="rId1" Type="http://schemas.openxmlformats.org/officeDocument/2006/relationships/tags" Target="../tags/tag10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7.bin"/><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5CA9BBD4-4602-1C12-A421-743AF6893E0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5CA9BBD4-4602-1C12-A421-743AF6893E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2">
            <a:extLst>
              <a:ext uri="{FF2B5EF4-FFF2-40B4-BE49-F238E27FC236}">
                <a16:creationId xmlns:a16="http://schemas.microsoft.com/office/drawing/2014/main" id="{F2E7DEA7-FDEA-8FF3-6428-7184E72F7C50}"/>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4">
            <a:extLst>
              <a:ext uri="{FF2B5EF4-FFF2-40B4-BE49-F238E27FC236}">
                <a16:creationId xmlns:a16="http://schemas.microsoft.com/office/drawing/2014/main" id="{5D0E2130-7F18-7B91-3389-1D74DCF55DB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28ECD89E-C3FF-43F4-AC4A-6C0E4C2FD2AE}"/>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TextBox 23">
            <a:extLst>
              <a:ext uri="{FF2B5EF4-FFF2-40B4-BE49-F238E27FC236}">
                <a16:creationId xmlns:a16="http://schemas.microsoft.com/office/drawing/2014/main" id="{A1AF82DA-08C2-A2F4-6D96-6A932C9716BB}"/>
              </a:ext>
            </a:extLst>
          </p:cNvPr>
          <p:cNvSpPr txBox="1">
            <a:spLocks noChangeArrowheads="1"/>
          </p:cNvSpPr>
          <p:nvPr/>
        </p:nvSpPr>
        <p:spPr bwMode="auto">
          <a:xfrm>
            <a:off x="5397500" y="6542088"/>
            <a:ext cx="1768475" cy="231775"/>
          </a:xfrm>
          <a:prstGeom prst="rect">
            <a:avLst/>
          </a:prstGeom>
          <a:noFill/>
          <a:ln w="9525">
            <a:solidFill>
              <a:schemeClr val="bg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nb-NO" sz="900">
                <a:solidFill>
                  <a:schemeClr val="bg1"/>
                </a:solidFill>
              </a:rPr>
              <a:t>CLASSIFICATION: INTERNAL</a:t>
            </a:r>
          </a:p>
        </p:txBody>
      </p:sp>
      <p:grpSp>
        <p:nvGrpSpPr>
          <p:cNvPr id="9" name="object 2">
            <a:extLst>
              <a:ext uri="{FF2B5EF4-FFF2-40B4-BE49-F238E27FC236}">
                <a16:creationId xmlns:a16="http://schemas.microsoft.com/office/drawing/2014/main" id="{DF515BCB-1586-AF7A-0747-DD020FBF27E1}"/>
              </a:ext>
            </a:extLst>
          </p:cNvPr>
          <p:cNvGrpSpPr>
            <a:grpSpLocks/>
          </p:cNvGrpSpPr>
          <p:nvPr/>
        </p:nvGrpSpPr>
        <p:grpSpPr bwMode="auto">
          <a:xfrm>
            <a:off x="11002963" y="-4763"/>
            <a:ext cx="1163637" cy="1343026"/>
            <a:chOff x="11002424" y="0"/>
            <a:chExt cx="1163955" cy="1342390"/>
          </a:xfrm>
        </p:grpSpPr>
        <p:sp>
          <p:nvSpPr>
            <p:cNvPr id="10" name="object 3">
              <a:extLst>
                <a:ext uri="{FF2B5EF4-FFF2-40B4-BE49-F238E27FC236}">
                  <a16:creationId xmlns:a16="http://schemas.microsoft.com/office/drawing/2014/main" id="{0335CEE5-A4F7-1874-3C8E-6A4E3FAAF77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1" name="object 4">
              <a:extLst>
                <a:ext uri="{FF2B5EF4-FFF2-40B4-BE49-F238E27FC236}">
                  <a16:creationId xmlns:a16="http://schemas.microsoft.com/office/drawing/2014/main" id="{7023EB80-B3BD-751E-6D78-4BA121F475FD}"/>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2" name="Object 16" hidden="1">
            <a:extLst>
              <a:ext uri="{FF2B5EF4-FFF2-40B4-BE49-F238E27FC236}">
                <a16:creationId xmlns:a16="http://schemas.microsoft.com/office/drawing/2014/main" id="{A180D372-6A69-8BA5-B18D-F98B49AC290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2" name="Object 16" hidden="1">
                        <a:extLst>
                          <a:ext uri="{FF2B5EF4-FFF2-40B4-BE49-F238E27FC236}">
                            <a16:creationId xmlns:a16="http://schemas.microsoft.com/office/drawing/2014/main" id="{A180D372-6A69-8BA5-B18D-F98B49AC29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object 2">
            <a:extLst>
              <a:ext uri="{FF2B5EF4-FFF2-40B4-BE49-F238E27FC236}">
                <a16:creationId xmlns:a16="http://schemas.microsoft.com/office/drawing/2014/main" id="{3E72EF92-51FD-68A6-D7FB-17CCA310AA1B}"/>
              </a:ext>
            </a:extLst>
          </p:cNvPr>
          <p:cNvSpPr>
            <a:spLocks/>
          </p:cNvSpPr>
          <p:nvPr/>
        </p:nvSpPr>
        <p:spPr bwMode="auto">
          <a:xfrm>
            <a:off x="0" y="0"/>
            <a:ext cx="12192000" cy="6858000"/>
          </a:xfrm>
          <a:custGeom>
            <a:avLst/>
            <a:gdLst>
              <a:gd name="T0" fmla="*/ 12192000 w 12192000"/>
              <a:gd name="T1" fmla="*/ 0 h 6858000"/>
              <a:gd name="T2" fmla="*/ 0 w 12192000"/>
              <a:gd name="T3" fmla="*/ 0 h 6858000"/>
              <a:gd name="T4" fmla="*/ 0 w 12192000"/>
              <a:gd name="T5" fmla="*/ 6858000 h 6858000"/>
              <a:gd name="T6" fmla="*/ 12192000 w 12192000"/>
              <a:gd name="T7" fmla="*/ 6858000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5">
            <a:extLst>
              <a:ext uri="{FF2B5EF4-FFF2-40B4-BE49-F238E27FC236}">
                <a16:creationId xmlns:a16="http://schemas.microsoft.com/office/drawing/2014/main" id="{11A39EA0-8290-4938-70ED-E808DC7BB654}"/>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6">
            <a:extLst>
              <a:ext uri="{FF2B5EF4-FFF2-40B4-BE49-F238E27FC236}">
                <a16:creationId xmlns:a16="http://schemas.microsoft.com/office/drawing/2014/main" id="{6B2D8088-D0DD-C27D-1381-CAFA72205640}"/>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7">
            <a:extLst>
              <a:ext uri="{FF2B5EF4-FFF2-40B4-BE49-F238E27FC236}">
                <a16:creationId xmlns:a16="http://schemas.microsoft.com/office/drawing/2014/main" id="{5FF76782-57BC-BE42-E73C-A9AB26733353}"/>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7" name="object 3">
            <a:extLst>
              <a:ext uri="{FF2B5EF4-FFF2-40B4-BE49-F238E27FC236}">
                <a16:creationId xmlns:a16="http://schemas.microsoft.com/office/drawing/2014/main" id="{D0A407CD-AD19-2B11-5CCF-C356517B1B5D}"/>
              </a:ext>
            </a:extLst>
          </p:cNvPr>
          <p:cNvSpPr>
            <a:spLocks/>
          </p:cNvSpPr>
          <p:nvPr/>
        </p:nvSpPr>
        <p:spPr bwMode="auto">
          <a:xfrm>
            <a:off x="684213" y="698500"/>
            <a:ext cx="1790700" cy="676275"/>
          </a:xfrm>
          <a:custGeom>
            <a:avLst/>
            <a:gdLst>
              <a:gd name="T0" fmla="*/ 0 w 1791335"/>
              <a:gd name="T1" fmla="*/ 664746 h 675640"/>
              <a:gd name="T2" fmla="*/ 136495 w 1791335"/>
              <a:gd name="T3" fmla="*/ 0 h 675640"/>
              <a:gd name="T4" fmla="*/ 293128 w 1791335"/>
              <a:gd name="T5" fmla="*/ 664746 h 675640"/>
              <a:gd name="T6" fmla="*/ 268514 w 1791335"/>
              <a:gd name="T7" fmla="*/ 434212 h 675640"/>
              <a:gd name="T8" fmla="*/ 293128 w 1791335"/>
              <a:gd name="T9" fmla="*/ 203676 h 675640"/>
              <a:gd name="T10" fmla="*/ 293128 w 1791335"/>
              <a:gd name="T11" fmla="*/ 664746 h 675640"/>
              <a:gd name="T12" fmla="*/ 1203839 w 1791335"/>
              <a:gd name="T13" fmla="*/ 664746 h 675640"/>
              <a:gd name="T14" fmla="*/ 1340335 w 1791335"/>
              <a:gd name="T15" fmla="*/ 0 h 675640"/>
              <a:gd name="T16" fmla="*/ 1631226 w 1791335"/>
              <a:gd name="T17" fmla="*/ 664746 h 675640"/>
              <a:gd name="T18" fmla="*/ 1340335 w 1791335"/>
              <a:gd name="T19" fmla="*/ 434212 h 675640"/>
              <a:gd name="T20" fmla="*/ 1631226 w 1791335"/>
              <a:gd name="T21" fmla="*/ 203676 h 675640"/>
              <a:gd name="T22" fmla="*/ 1631226 w 1791335"/>
              <a:gd name="T23" fmla="*/ 664746 h 675640"/>
              <a:gd name="T24" fmla="*/ 567019 w 1791335"/>
              <a:gd name="T25" fmla="*/ 670217 h 675640"/>
              <a:gd name="T26" fmla="*/ 500947 w 1791335"/>
              <a:gd name="T27" fmla="*/ 625578 h 675640"/>
              <a:gd name="T28" fmla="*/ 472914 w 1791335"/>
              <a:gd name="T29" fmla="*/ 539158 h 675640"/>
              <a:gd name="T30" fmla="*/ 469900 w 1791335"/>
              <a:gd name="T31" fmla="*/ 203676 h 675640"/>
              <a:gd name="T32" fmla="*/ 601968 w 1791335"/>
              <a:gd name="T33" fmla="*/ 447640 h 675640"/>
              <a:gd name="T34" fmla="*/ 610031 w 1791335"/>
              <a:gd name="T35" fmla="*/ 531014 h 675640"/>
              <a:gd name="T36" fmla="*/ 666811 w 1791335"/>
              <a:gd name="T37" fmla="*/ 566266 h 675640"/>
              <a:gd name="T38" fmla="*/ 874910 w 1791335"/>
              <a:gd name="T39" fmla="*/ 599838 h 675640"/>
              <a:gd name="T40" fmla="*/ 721107 w 1791335"/>
              <a:gd name="T41" fmla="*/ 631558 h 675640"/>
              <a:gd name="T42" fmla="*/ 660762 w 1791335"/>
              <a:gd name="T43" fmla="*/ 670657 h 675640"/>
              <a:gd name="T44" fmla="*/ 874910 w 1791335"/>
              <a:gd name="T45" fmla="*/ 566266 h 675640"/>
              <a:gd name="T46" fmla="*/ 702298 w 1791335"/>
              <a:gd name="T47" fmla="*/ 559691 h 675640"/>
              <a:gd name="T48" fmla="*/ 738869 w 1791335"/>
              <a:gd name="T49" fmla="*/ 502057 h 675640"/>
              <a:gd name="T50" fmla="*/ 742890 w 1791335"/>
              <a:gd name="T51" fmla="*/ 203676 h 675640"/>
              <a:gd name="T52" fmla="*/ 874910 w 1791335"/>
              <a:gd name="T53" fmla="*/ 566266 h 675640"/>
              <a:gd name="T54" fmla="*/ 742890 w 1791335"/>
              <a:gd name="T55" fmla="*/ 664746 h 675640"/>
              <a:gd name="T56" fmla="*/ 874910 w 1791335"/>
              <a:gd name="T57" fmla="*/ 599838 h 675640"/>
              <a:gd name="T58" fmla="*/ 1143424 w 1791335"/>
              <a:gd name="T59" fmla="*/ 664746 h 675640"/>
              <a:gd name="T60" fmla="*/ 1046777 w 1791335"/>
              <a:gd name="T61" fmla="*/ 661559 h 675640"/>
              <a:gd name="T62" fmla="*/ 977965 w 1791335"/>
              <a:gd name="T63" fmla="*/ 627038 h 675640"/>
              <a:gd name="T64" fmla="*/ 957701 w 1791335"/>
              <a:gd name="T65" fmla="*/ 534930 h 675640"/>
              <a:gd name="T66" fmla="*/ 1094196 w 1791335"/>
              <a:gd name="T67" fmla="*/ 0 h 675640"/>
              <a:gd name="T68" fmla="*/ 1091959 w 1791335"/>
              <a:gd name="T69" fmla="*/ 501358 h 675640"/>
              <a:gd name="T70" fmla="*/ 1103427 w 1791335"/>
              <a:gd name="T71" fmla="*/ 542205 h 675640"/>
              <a:gd name="T72" fmla="*/ 1143424 w 1791335"/>
              <a:gd name="T73" fmla="*/ 552836 h 675640"/>
              <a:gd name="T74" fmla="*/ 1734156 w 1791335"/>
              <a:gd name="T75" fmla="*/ 212629 h 675640"/>
              <a:gd name="T76" fmla="*/ 1698354 w 1791335"/>
              <a:gd name="T77" fmla="*/ 203676 h 675640"/>
              <a:gd name="T78" fmla="*/ 1734156 w 1791335"/>
              <a:gd name="T79" fmla="*/ 212629 h 675640"/>
              <a:gd name="T80" fmla="*/ 1711779 w 1791335"/>
              <a:gd name="T81" fmla="*/ 246202 h 675640"/>
              <a:gd name="T82" fmla="*/ 1720730 w 1791335"/>
              <a:gd name="T83" fmla="*/ 212629 h 675640"/>
              <a:gd name="T84" fmla="*/ 1752057 w 1791335"/>
              <a:gd name="T85" fmla="*/ 246202 h 675640"/>
              <a:gd name="T86" fmla="*/ 1740869 w 1791335"/>
              <a:gd name="T87" fmla="*/ 203676 h 675640"/>
              <a:gd name="T88" fmla="*/ 1760663 w 1791335"/>
              <a:gd name="T89" fmla="*/ 217106 h 675640"/>
              <a:gd name="T90" fmla="*/ 1752057 w 1791335"/>
              <a:gd name="T91" fmla="*/ 246202 h 675640"/>
              <a:gd name="T92" fmla="*/ 1765482 w 1791335"/>
              <a:gd name="T93" fmla="*/ 232773 h 675640"/>
              <a:gd name="T94" fmla="*/ 1790096 w 1791335"/>
              <a:gd name="T95" fmla="*/ 203676 h 675640"/>
              <a:gd name="T96" fmla="*/ 1778908 w 1791335"/>
              <a:gd name="T97" fmla="*/ 217106 h 675640"/>
              <a:gd name="T98" fmla="*/ 1769957 w 1791335"/>
              <a:gd name="T99" fmla="*/ 246202 h 675640"/>
              <a:gd name="T100" fmla="*/ 1752057 w 1791335"/>
              <a:gd name="T101" fmla="*/ 217106 h 675640"/>
              <a:gd name="T102" fmla="*/ 1765482 w 1791335"/>
              <a:gd name="T103" fmla="*/ 232773 h 675640"/>
              <a:gd name="T104" fmla="*/ 1769957 w 1791335"/>
              <a:gd name="T105" fmla="*/ 246202 h 675640"/>
              <a:gd name="T106" fmla="*/ 1778908 w 1791335"/>
              <a:gd name="T107" fmla="*/ 246202 h 675640"/>
              <a:gd name="T108" fmla="*/ 1790096 w 1791335"/>
              <a:gd name="T109" fmla="*/ 217106 h 6756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91335" h="675640">
                <a:moveTo>
                  <a:pt x="136543" y="664122"/>
                </a:moveTo>
                <a:lnTo>
                  <a:pt x="0" y="664122"/>
                </a:lnTo>
                <a:lnTo>
                  <a:pt x="0" y="0"/>
                </a:lnTo>
                <a:lnTo>
                  <a:pt x="136543" y="0"/>
                </a:lnTo>
                <a:lnTo>
                  <a:pt x="136543" y="664122"/>
                </a:lnTo>
                <a:close/>
              </a:path>
              <a:path w="1791335" h="675640">
                <a:moveTo>
                  <a:pt x="293232" y="664122"/>
                </a:moveTo>
                <a:lnTo>
                  <a:pt x="136543" y="664122"/>
                </a:lnTo>
                <a:lnTo>
                  <a:pt x="268609" y="433804"/>
                </a:lnTo>
                <a:lnTo>
                  <a:pt x="136543" y="203485"/>
                </a:lnTo>
                <a:lnTo>
                  <a:pt x="293232" y="203485"/>
                </a:lnTo>
                <a:lnTo>
                  <a:pt x="427537" y="433804"/>
                </a:lnTo>
                <a:lnTo>
                  <a:pt x="293232" y="664122"/>
                </a:lnTo>
                <a:close/>
              </a:path>
              <a:path w="1791335" h="675640">
                <a:moveTo>
                  <a:pt x="1340810" y="664122"/>
                </a:moveTo>
                <a:lnTo>
                  <a:pt x="1204266" y="664122"/>
                </a:lnTo>
                <a:lnTo>
                  <a:pt x="1204266" y="0"/>
                </a:lnTo>
                <a:lnTo>
                  <a:pt x="1340810" y="0"/>
                </a:lnTo>
                <a:lnTo>
                  <a:pt x="1340810" y="664122"/>
                </a:lnTo>
                <a:close/>
              </a:path>
              <a:path w="1791335" h="675640">
                <a:moveTo>
                  <a:pt x="1631804" y="664122"/>
                </a:moveTo>
                <a:lnTo>
                  <a:pt x="1472876" y="664122"/>
                </a:lnTo>
                <a:lnTo>
                  <a:pt x="1340810" y="433804"/>
                </a:lnTo>
                <a:lnTo>
                  <a:pt x="1472876" y="203485"/>
                </a:lnTo>
                <a:lnTo>
                  <a:pt x="1631804" y="203485"/>
                </a:lnTo>
                <a:lnTo>
                  <a:pt x="1497499" y="433804"/>
                </a:lnTo>
                <a:lnTo>
                  <a:pt x="1631804" y="664122"/>
                </a:lnTo>
                <a:close/>
              </a:path>
              <a:path w="1791335" h="675640">
                <a:moveTo>
                  <a:pt x="617802" y="675303"/>
                </a:moveTo>
                <a:lnTo>
                  <a:pt x="567220" y="669588"/>
                </a:lnTo>
                <a:lnTo>
                  <a:pt x="528763" y="652693"/>
                </a:lnTo>
                <a:lnTo>
                  <a:pt x="501125" y="624991"/>
                </a:lnTo>
                <a:lnTo>
                  <a:pt x="483000" y="586853"/>
                </a:lnTo>
                <a:lnTo>
                  <a:pt x="473082" y="538652"/>
                </a:lnTo>
                <a:lnTo>
                  <a:pt x="470067" y="480762"/>
                </a:lnTo>
                <a:lnTo>
                  <a:pt x="470067" y="203485"/>
                </a:lnTo>
                <a:lnTo>
                  <a:pt x="602133" y="203485"/>
                </a:lnTo>
                <a:lnTo>
                  <a:pt x="602181" y="447220"/>
                </a:lnTo>
                <a:lnTo>
                  <a:pt x="603147" y="492152"/>
                </a:lnTo>
                <a:lnTo>
                  <a:pt x="610247" y="530515"/>
                </a:lnTo>
                <a:lnTo>
                  <a:pt x="629519" y="556300"/>
                </a:lnTo>
                <a:lnTo>
                  <a:pt x="667047" y="565734"/>
                </a:lnTo>
                <a:lnTo>
                  <a:pt x="875220" y="565734"/>
                </a:lnTo>
                <a:lnTo>
                  <a:pt x="875220" y="599275"/>
                </a:lnTo>
                <a:lnTo>
                  <a:pt x="743153" y="599275"/>
                </a:lnTo>
                <a:lnTo>
                  <a:pt x="721363" y="630965"/>
                </a:lnTo>
                <a:lnTo>
                  <a:pt x="694747" y="654899"/>
                </a:lnTo>
                <a:lnTo>
                  <a:pt x="660996" y="670027"/>
                </a:lnTo>
                <a:lnTo>
                  <a:pt x="617802" y="675303"/>
                </a:lnTo>
                <a:close/>
              </a:path>
              <a:path w="1791335" h="675640">
                <a:moveTo>
                  <a:pt x="875220" y="565734"/>
                </a:moveTo>
                <a:lnTo>
                  <a:pt x="667047" y="565734"/>
                </a:lnTo>
                <a:lnTo>
                  <a:pt x="702547" y="559165"/>
                </a:lnTo>
                <a:lnTo>
                  <a:pt x="726085" y="538342"/>
                </a:lnTo>
                <a:lnTo>
                  <a:pt x="739131" y="501586"/>
                </a:lnTo>
                <a:lnTo>
                  <a:pt x="743153" y="447220"/>
                </a:lnTo>
                <a:lnTo>
                  <a:pt x="743153" y="203485"/>
                </a:lnTo>
                <a:lnTo>
                  <a:pt x="875220" y="203485"/>
                </a:lnTo>
                <a:lnTo>
                  <a:pt x="875220" y="565734"/>
                </a:lnTo>
                <a:close/>
              </a:path>
              <a:path w="1791335" h="675640">
                <a:moveTo>
                  <a:pt x="875220" y="664122"/>
                </a:moveTo>
                <a:lnTo>
                  <a:pt x="743153" y="664122"/>
                </a:lnTo>
                <a:lnTo>
                  <a:pt x="743153" y="599275"/>
                </a:lnTo>
                <a:lnTo>
                  <a:pt x="875220" y="599275"/>
                </a:lnTo>
                <a:lnTo>
                  <a:pt x="875220" y="664122"/>
                </a:lnTo>
                <a:close/>
              </a:path>
              <a:path w="1791335" h="675640">
                <a:moveTo>
                  <a:pt x="1143829" y="664122"/>
                </a:moveTo>
                <a:lnTo>
                  <a:pt x="1103538" y="664122"/>
                </a:lnTo>
                <a:lnTo>
                  <a:pt x="1047148" y="660938"/>
                </a:lnTo>
                <a:lnTo>
                  <a:pt x="1005907" y="649382"/>
                </a:lnTo>
                <a:lnTo>
                  <a:pt x="978312" y="626449"/>
                </a:lnTo>
                <a:lnTo>
                  <a:pt x="962858" y="589132"/>
                </a:lnTo>
                <a:lnTo>
                  <a:pt x="958041" y="534428"/>
                </a:lnTo>
                <a:lnTo>
                  <a:pt x="958041" y="0"/>
                </a:lnTo>
                <a:lnTo>
                  <a:pt x="1094584" y="0"/>
                </a:lnTo>
                <a:lnTo>
                  <a:pt x="1094584" y="500887"/>
                </a:lnTo>
                <a:lnTo>
                  <a:pt x="1092346" y="500887"/>
                </a:lnTo>
                <a:lnTo>
                  <a:pt x="1095039" y="525903"/>
                </a:lnTo>
                <a:lnTo>
                  <a:pt x="1103818" y="541696"/>
                </a:lnTo>
                <a:lnTo>
                  <a:pt x="1119731" y="549941"/>
                </a:lnTo>
                <a:lnTo>
                  <a:pt x="1143829" y="552317"/>
                </a:lnTo>
                <a:lnTo>
                  <a:pt x="1143829" y="664122"/>
                </a:lnTo>
                <a:close/>
              </a:path>
              <a:path w="1791335" h="675640">
                <a:moveTo>
                  <a:pt x="1734771" y="212429"/>
                </a:moveTo>
                <a:lnTo>
                  <a:pt x="1698956" y="212429"/>
                </a:lnTo>
                <a:lnTo>
                  <a:pt x="1698956" y="203485"/>
                </a:lnTo>
                <a:lnTo>
                  <a:pt x="1734771" y="203485"/>
                </a:lnTo>
                <a:lnTo>
                  <a:pt x="1734771" y="212429"/>
                </a:lnTo>
                <a:close/>
              </a:path>
              <a:path w="1791335" h="675640">
                <a:moveTo>
                  <a:pt x="1721340" y="245971"/>
                </a:moveTo>
                <a:lnTo>
                  <a:pt x="1712386" y="245971"/>
                </a:lnTo>
                <a:lnTo>
                  <a:pt x="1712386" y="212429"/>
                </a:lnTo>
                <a:lnTo>
                  <a:pt x="1721340" y="212429"/>
                </a:lnTo>
                <a:lnTo>
                  <a:pt x="1721340" y="245971"/>
                </a:lnTo>
                <a:close/>
              </a:path>
              <a:path w="1791335" h="675640">
                <a:moveTo>
                  <a:pt x="1752678" y="245971"/>
                </a:moveTo>
                <a:lnTo>
                  <a:pt x="1741486" y="245971"/>
                </a:lnTo>
                <a:lnTo>
                  <a:pt x="1741486" y="203485"/>
                </a:lnTo>
                <a:lnTo>
                  <a:pt x="1757155" y="203485"/>
                </a:lnTo>
                <a:lnTo>
                  <a:pt x="1761287" y="216902"/>
                </a:lnTo>
                <a:lnTo>
                  <a:pt x="1752678" y="216902"/>
                </a:lnTo>
                <a:lnTo>
                  <a:pt x="1752678" y="245971"/>
                </a:lnTo>
                <a:close/>
              </a:path>
              <a:path w="1791335" h="675640">
                <a:moveTo>
                  <a:pt x="1774718" y="232554"/>
                </a:moveTo>
                <a:lnTo>
                  <a:pt x="1766108" y="232554"/>
                </a:lnTo>
                <a:lnTo>
                  <a:pt x="1775062" y="203485"/>
                </a:lnTo>
                <a:lnTo>
                  <a:pt x="1790731" y="203485"/>
                </a:lnTo>
                <a:lnTo>
                  <a:pt x="1790731" y="216902"/>
                </a:lnTo>
                <a:lnTo>
                  <a:pt x="1779539" y="216902"/>
                </a:lnTo>
                <a:lnTo>
                  <a:pt x="1774718" y="232554"/>
                </a:lnTo>
                <a:close/>
              </a:path>
              <a:path w="1791335" h="675640">
                <a:moveTo>
                  <a:pt x="1770585" y="245971"/>
                </a:moveTo>
                <a:lnTo>
                  <a:pt x="1761632" y="245971"/>
                </a:lnTo>
                <a:lnTo>
                  <a:pt x="1752678" y="216902"/>
                </a:lnTo>
                <a:lnTo>
                  <a:pt x="1761287" y="216902"/>
                </a:lnTo>
                <a:lnTo>
                  <a:pt x="1766108" y="232554"/>
                </a:lnTo>
                <a:lnTo>
                  <a:pt x="1774718" y="232554"/>
                </a:lnTo>
                <a:lnTo>
                  <a:pt x="1770585" y="245971"/>
                </a:lnTo>
                <a:close/>
              </a:path>
              <a:path w="1791335" h="675640">
                <a:moveTo>
                  <a:pt x="1790731" y="245971"/>
                </a:moveTo>
                <a:lnTo>
                  <a:pt x="1779539" y="245971"/>
                </a:lnTo>
                <a:lnTo>
                  <a:pt x="1779539" y="216902"/>
                </a:lnTo>
                <a:lnTo>
                  <a:pt x="1790731" y="216902"/>
                </a:lnTo>
                <a:lnTo>
                  <a:pt x="1790731" y="2459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 name="Title 1"/>
          <p:cNvSpPr>
            <a:spLocks noGrp="1"/>
          </p:cNvSpPr>
          <p:nvPr>
            <p:ph type="ctrTitle"/>
          </p:nvPr>
        </p:nvSpPr>
        <p:spPr>
          <a:xfrm>
            <a:off x="596348" y="2731405"/>
            <a:ext cx="9144000" cy="590931"/>
          </a:xfrm>
        </p:spPr>
        <p:txBody>
          <a:bodyPr anchor="b"/>
          <a:lstStyle>
            <a:lvl1pPr algn="l">
              <a:defRPr sz="36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96348" y="3414411"/>
            <a:ext cx="9144000" cy="369332"/>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35589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D4C8CD90-F67C-F9B6-FD27-A13A6163D5E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D4C8CD90-F67C-F9B6-FD27-A13A6163D5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4">
            <a:extLst>
              <a:ext uri="{FF2B5EF4-FFF2-40B4-BE49-F238E27FC236}">
                <a16:creationId xmlns:a16="http://schemas.microsoft.com/office/drawing/2014/main" id="{5B9597C7-B51F-7E1F-3D56-69ED227E49A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656 h 541020"/>
              <a:gd name="T6" fmla="*/ 12192000 w 12192000"/>
              <a:gd name="T7" fmla="*/ 541656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nb-NO"/>
          </a:p>
        </p:txBody>
      </p:sp>
      <p:sp>
        <p:nvSpPr>
          <p:cNvPr id="6" name="object 6">
            <a:extLst>
              <a:ext uri="{FF2B5EF4-FFF2-40B4-BE49-F238E27FC236}">
                <a16:creationId xmlns:a16="http://schemas.microsoft.com/office/drawing/2014/main" id="{298F5281-1D76-85F5-CF63-457A55B484C4}"/>
              </a:ext>
            </a:extLst>
          </p:cNvPr>
          <p:cNvSpPr>
            <a:spLocks/>
          </p:cNvSpPr>
          <p:nvPr/>
        </p:nvSpPr>
        <p:spPr bwMode="auto">
          <a:xfrm>
            <a:off x="695325" y="6478588"/>
            <a:ext cx="635000" cy="241300"/>
          </a:xfrm>
          <a:custGeom>
            <a:avLst/>
            <a:gdLst>
              <a:gd name="T0" fmla="*/ 0 w 634365"/>
              <a:gd name="T1" fmla="*/ 238480 h 240029"/>
              <a:gd name="T2" fmla="*/ 48430 w 634365"/>
              <a:gd name="T3" fmla="*/ 0 h 240029"/>
              <a:gd name="T4" fmla="*/ 104008 w 634365"/>
              <a:gd name="T5" fmla="*/ 238480 h 240029"/>
              <a:gd name="T6" fmla="*/ 95274 w 634365"/>
              <a:gd name="T7" fmla="*/ 155775 h 240029"/>
              <a:gd name="T8" fmla="*/ 104008 w 634365"/>
              <a:gd name="T9" fmla="*/ 73069 h 240029"/>
              <a:gd name="T10" fmla="*/ 104008 w 634365"/>
              <a:gd name="T11" fmla="*/ 238480 h 240029"/>
              <a:gd name="T12" fmla="*/ 427148 w 634365"/>
              <a:gd name="T13" fmla="*/ 238480 h 240029"/>
              <a:gd name="T14" fmla="*/ 475580 w 634365"/>
              <a:gd name="T15" fmla="*/ 0 h 240029"/>
              <a:gd name="T16" fmla="*/ 578794 w 634365"/>
              <a:gd name="T17" fmla="*/ 238480 h 240029"/>
              <a:gd name="T18" fmla="*/ 475580 w 634365"/>
              <a:gd name="T19" fmla="*/ 155775 h 240029"/>
              <a:gd name="T20" fmla="*/ 578794 w 634365"/>
              <a:gd name="T21" fmla="*/ 73069 h 240029"/>
              <a:gd name="T22" fmla="*/ 578794 w 634365"/>
              <a:gd name="T23" fmla="*/ 238480 h 240029"/>
              <a:gd name="T24" fmla="*/ 193862 w 634365"/>
              <a:gd name="T25" fmla="*/ 237903 h 240029"/>
              <a:gd name="T26" fmla="*/ 169224 w 634365"/>
              <a:gd name="T27" fmla="*/ 202522 h 240029"/>
              <a:gd name="T28" fmla="*/ 166731 w 634365"/>
              <a:gd name="T29" fmla="*/ 73069 h 240029"/>
              <a:gd name="T30" fmla="*/ 213591 w 634365"/>
              <a:gd name="T31" fmla="*/ 160592 h 240029"/>
              <a:gd name="T32" fmla="*/ 216451 w 634365"/>
              <a:gd name="T33" fmla="*/ 190502 h 240029"/>
              <a:gd name="T34" fmla="*/ 236599 w 634365"/>
              <a:gd name="T35" fmla="*/ 203149 h 240029"/>
              <a:gd name="T36" fmla="*/ 310436 w 634365"/>
              <a:gd name="T37" fmla="*/ 215194 h 240029"/>
              <a:gd name="T38" fmla="*/ 255865 w 634365"/>
              <a:gd name="T39" fmla="*/ 226573 h 240029"/>
              <a:gd name="T40" fmla="*/ 234452 w 634365"/>
              <a:gd name="T41" fmla="*/ 240600 h 240029"/>
              <a:gd name="T42" fmla="*/ 310436 w 634365"/>
              <a:gd name="T43" fmla="*/ 203149 h 240029"/>
              <a:gd name="T44" fmla="*/ 249190 w 634365"/>
              <a:gd name="T45" fmla="*/ 200791 h 240029"/>
              <a:gd name="T46" fmla="*/ 262166 w 634365"/>
              <a:gd name="T47" fmla="*/ 180115 h 240029"/>
              <a:gd name="T48" fmla="*/ 263593 w 634365"/>
              <a:gd name="T49" fmla="*/ 73069 h 240029"/>
              <a:gd name="T50" fmla="*/ 310436 w 634365"/>
              <a:gd name="T51" fmla="*/ 203149 h 240029"/>
              <a:gd name="T52" fmla="*/ 263593 w 634365"/>
              <a:gd name="T53" fmla="*/ 238480 h 240029"/>
              <a:gd name="T54" fmla="*/ 310436 w 634365"/>
              <a:gd name="T55" fmla="*/ 215194 h 240029"/>
              <a:gd name="T56" fmla="*/ 405711 w 634365"/>
              <a:gd name="T57" fmla="*/ 238480 h 240029"/>
              <a:gd name="T58" fmla="*/ 367279 w 634365"/>
              <a:gd name="T59" fmla="*/ 236623 h 240029"/>
              <a:gd name="T60" fmla="*/ 342518 w 634365"/>
              <a:gd name="T61" fmla="*/ 215445 h 240029"/>
              <a:gd name="T62" fmla="*/ 339813 w 634365"/>
              <a:gd name="T63" fmla="*/ 0 h 240029"/>
              <a:gd name="T64" fmla="*/ 388244 w 634365"/>
              <a:gd name="T65" fmla="*/ 179863 h 240029"/>
              <a:gd name="T66" fmla="*/ 388405 w 634365"/>
              <a:gd name="T67" fmla="*/ 188846 h 240029"/>
              <a:gd name="T68" fmla="*/ 397164 w 634365"/>
              <a:gd name="T69" fmla="*/ 197479 h 240029"/>
              <a:gd name="T70" fmla="*/ 405711 w 634365"/>
              <a:gd name="T71" fmla="*/ 238480 h 240029"/>
              <a:gd name="T72" fmla="*/ 602613 w 634365"/>
              <a:gd name="T73" fmla="*/ 76282 h 240029"/>
              <a:gd name="T74" fmla="*/ 615316 w 634365"/>
              <a:gd name="T75" fmla="*/ 73069 h 240029"/>
              <a:gd name="T76" fmla="*/ 610553 w 634365"/>
              <a:gd name="T77" fmla="*/ 88325 h 240029"/>
              <a:gd name="T78" fmla="*/ 607376 w 634365"/>
              <a:gd name="T79" fmla="*/ 76282 h 240029"/>
              <a:gd name="T80" fmla="*/ 610553 w 634365"/>
              <a:gd name="T81" fmla="*/ 88325 h 240029"/>
              <a:gd name="T82" fmla="*/ 617698 w 634365"/>
              <a:gd name="T83" fmla="*/ 88325 h 240029"/>
              <a:gd name="T84" fmla="*/ 623256 w 634365"/>
              <a:gd name="T85" fmla="*/ 73069 h 240029"/>
              <a:gd name="T86" fmla="*/ 621668 w 634365"/>
              <a:gd name="T87" fmla="*/ 77887 h 240029"/>
              <a:gd name="T88" fmla="*/ 629485 w 634365"/>
              <a:gd name="T89" fmla="*/ 83508 h 240029"/>
              <a:gd name="T90" fmla="*/ 629608 w 634365"/>
              <a:gd name="T91" fmla="*/ 73069 h 240029"/>
              <a:gd name="T92" fmla="*/ 635165 w 634365"/>
              <a:gd name="T93" fmla="*/ 77887 h 240029"/>
              <a:gd name="T94" fmla="*/ 629485 w 634365"/>
              <a:gd name="T95" fmla="*/ 83508 h 240029"/>
              <a:gd name="T96" fmla="*/ 624843 w 634365"/>
              <a:gd name="T97" fmla="*/ 88325 h 240029"/>
              <a:gd name="T98" fmla="*/ 624721 w 634365"/>
              <a:gd name="T99" fmla="*/ 77887 h 240029"/>
              <a:gd name="T100" fmla="*/ 629485 w 634365"/>
              <a:gd name="T101" fmla="*/ 83508 h 240029"/>
              <a:gd name="T102" fmla="*/ 635165 w 634365"/>
              <a:gd name="T103" fmla="*/ 88325 h 240029"/>
              <a:gd name="T104" fmla="*/ 631195 w 634365"/>
              <a:gd name="T105" fmla="*/ 77887 h 240029"/>
              <a:gd name="T106" fmla="*/ 635165 w 634365"/>
              <a:gd name="T107" fmla="*/ 88325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nb-NO"/>
          </a:p>
        </p:txBody>
      </p:sp>
      <p:grpSp>
        <p:nvGrpSpPr>
          <p:cNvPr id="8" name="object 2">
            <a:extLst>
              <a:ext uri="{FF2B5EF4-FFF2-40B4-BE49-F238E27FC236}">
                <a16:creationId xmlns:a16="http://schemas.microsoft.com/office/drawing/2014/main" id="{CD8DFBBF-579E-FDD3-DC5A-85DC20FB2E06}"/>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0481E853-08B7-7E1B-6C23-8C3CEB8CE419}"/>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nb-NO"/>
            </a:p>
          </p:txBody>
        </p:sp>
        <p:sp>
          <p:nvSpPr>
            <p:cNvPr id="10" name="object 4">
              <a:extLst>
                <a:ext uri="{FF2B5EF4-FFF2-40B4-BE49-F238E27FC236}">
                  <a16:creationId xmlns:a16="http://schemas.microsoft.com/office/drawing/2014/main" id="{7A27CC37-C655-C871-5664-C25E7587DE2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5" hidden="1">
            <a:extLst>
              <a:ext uri="{FF2B5EF4-FFF2-40B4-BE49-F238E27FC236}">
                <a16:creationId xmlns:a16="http://schemas.microsoft.com/office/drawing/2014/main" id="{F2D1B22E-0CA2-BC01-5657-7AB286E1A3D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5" hidden="1">
                        <a:extLst>
                          <a:ext uri="{FF2B5EF4-FFF2-40B4-BE49-F238E27FC236}">
                            <a16:creationId xmlns:a16="http://schemas.microsoft.com/office/drawing/2014/main" id="{F2D1B22E-0CA2-BC01-5657-7AB286E1A3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p:cNvSpPr>
          <p:nvPr>
            <p:ph idx="1"/>
          </p:nvPr>
        </p:nvSpPr>
        <p:spPr>
          <a:xfrm>
            <a:off x="8284389" y="1825625"/>
            <a:ext cx="3502799" cy="4277995"/>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a:extLst>
              <a:ext uri="{FF2B5EF4-FFF2-40B4-BE49-F238E27FC236}">
                <a16:creationId xmlns:a16="http://schemas.microsoft.com/office/drawing/2014/main" id="{D8E25E50-2D62-2F01-E8A0-C31553982484}"/>
              </a:ext>
            </a:extLst>
          </p:cNvPr>
          <p:cNvSpPr>
            <a:spLocks noGrp="1"/>
          </p:cNvSpPr>
          <p:nvPr>
            <p:ph type="dt" sz="half" idx="10"/>
          </p:nvPr>
        </p:nvSpPr>
        <p:spPr/>
        <p:txBody>
          <a:bodyPr/>
          <a:lstStyle>
            <a:lvl1pPr>
              <a:defRPr/>
            </a:lvl1pPr>
          </a:lstStyle>
          <a:p>
            <a:pPr>
              <a:defRPr/>
            </a:pPr>
            <a:fld id="{0887CBFB-5DBD-47A2-984E-6C1B57753268}" type="datetime1">
              <a:rPr lang="en-US"/>
              <a:pPr>
                <a:defRPr/>
              </a:pPr>
              <a:t>1/18/26</a:t>
            </a:fld>
            <a:endParaRPr lang="en-US"/>
          </a:p>
        </p:txBody>
      </p:sp>
      <p:sp>
        <p:nvSpPr>
          <p:cNvPr id="13" name="Footer Placeholder 4">
            <a:extLst>
              <a:ext uri="{FF2B5EF4-FFF2-40B4-BE49-F238E27FC236}">
                <a16:creationId xmlns:a16="http://schemas.microsoft.com/office/drawing/2014/main" id="{53D62411-3C15-2D92-67DE-D3A98F665B9D}"/>
              </a:ext>
            </a:extLst>
          </p:cNvPr>
          <p:cNvSpPr>
            <a:spLocks noGrp="1"/>
          </p:cNvSpPr>
          <p:nvPr>
            <p:ph type="ftr" sz="quarter" idx="11"/>
          </p:nvPr>
        </p:nvSpPr>
        <p:spPr/>
        <p:txBody>
          <a:bodyPr/>
          <a:lstStyle>
            <a:lvl1pPr>
              <a:defRPr/>
            </a:lvl1pPr>
          </a:lstStyle>
          <a:p>
            <a:pPr>
              <a:defRPr/>
            </a:pPr>
            <a:r>
              <a:rPr lang="en-US"/>
              <a:t>Document title or footer</a:t>
            </a:r>
          </a:p>
        </p:txBody>
      </p:sp>
      <p:sp>
        <p:nvSpPr>
          <p:cNvPr id="14" name="Slide Number Placeholder 5">
            <a:extLst>
              <a:ext uri="{FF2B5EF4-FFF2-40B4-BE49-F238E27FC236}">
                <a16:creationId xmlns:a16="http://schemas.microsoft.com/office/drawing/2014/main" id="{407F4B91-6B10-F655-F740-C215DD760A75}"/>
              </a:ext>
            </a:extLst>
          </p:cNvPr>
          <p:cNvSpPr>
            <a:spLocks noGrp="1"/>
          </p:cNvSpPr>
          <p:nvPr>
            <p:ph type="sldNum" sz="quarter" idx="12"/>
          </p:nvPr>
        </p:nvSpPr>
        <p:spPr>
          <a:xfrm>
            <a:off x="11418888" y="6542088"/>
            <a:ext cx="368300" cy="231775"/>
          </a:xfrm>
        </p:spPr>
        <p:txBody>
          <a:bodyPr/>
          <a:lstStyle>
            <a:lvl1pPr>
              <a:defRPr/>
            </a:lvl1pPr>
          </a:lstStyle>
          <a:p>
            <a:pPr>
              <a:defRPr/>
            </a:pPr>
            <a:fld id="{E9A8FBAF-0888-4EBA-BABF-C1B1411D4DB4}" type="slidenum">
              <a:rPr lang="en-US"/>
              <a:pPr>
                <a:defRPr/>
              </a:pPr>
              <a:t>‹#›</a:t>
            </a:fld>
            <a:endParaRPr lang="en-US"/>
          </a:p>
        </p:txBody>
      </p:sp>
      <p:sp>
        <p:nvSpPr>
          <p:cNvPr id="18" name="Content Placeholder 2">
            <a:extLst>
              <a:ext uri="{FF2B5EF4-FFF2-40B4-BE49-F238E27FC236}">
                <a16:creationId xmlns:a16="http://schemas.microsoft.com/office/drawing/2014/main" id="{34D1D77D-D78A-D911-F728-44A3E17B69BA}"/>
              </a:ext>
            </a:extLst>
          </p:cNvPr>
          <p:cNvSpPr>
            <a:spLocks noGrp="1"/>
          </p:cNvSpPr>
          <p:nvPr>
            <p:ph idx="14"/>
          </p:nvPr>
        </p:nvSpPr>
        <p:spPr>
          <a:xfrm>
            <a:off x="600075" y="1825625"/>
            <a:ext cx="7344957" cy="4277995"/>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8">
            <a:extLst>
              <a:ext uri="{FF2B5EF4-FFF2-40B4-BE49-F238E27FC236}">
                <a16:creationId xmlns:a16="http://schemas.microsoft.com/office/drawing/2014/main" id="{727B5796-0FF2-CF1E-7DE7-EE74253381A7}"/>
              </a:ext>
            </a:extLst>
          </p:cNvPr>
          <p:cNvSpPr>
            <a:spLocks noGrp="1"/>
          </p:cNvSpPr>
          <p:nvPr>
            <p:ph sz="quarter" idx="16" hasCustomPrompt="1"/>
          </p:nvPr>
        </p:nvSpPr>
        <p:spPr>
          <a:xfrm>
            <a:off x="600073" y="1441566"/>
            <a:ext cx="7344957" cy="307777"/>
          </a:xfrm>
          <a:gradFill>
            <a:gsLst>
              <a:gs pos="94000">
                <a:schemeClr val="bg1"/>
              </a:gs>
              <a:gs pos="95000">
                <a:schemeClr val="accent1"/>
              </a:gs>
            </a:gsLst>
            <a:lin ang="5400000" scaled="1"/>
          </a:gradFill>
        </p:spPr>
        <p:txBody>
          <a:bodyPr lIns="0" rIns="0" anchor="b" anchorCtr="0">
            <a:noAutofit/>
          </a:bodyPr>
          <a:lstStyle>
            <a:lvl1pPr marL="0" indent="0">
              <a:buNone/>
              <a:defRPr sz="1300" b="1">
                <a:solidFill>
                  <a:schemeClr val="accent2"/>
                </a:solidFill>
              </a:defRPr>
            </a:lvl1pPr>
          </a:lstStyle>
          <a:p>
            <a:pPr lvl="0"/>
            <a:r>
              <a:rPr lang="en-US"/>
              <a:t>Sub-heading</a:t>
            </a:r>
          </a:p>
        </p:txBody>
      </p:sp>
      <p:sp>
        <p:nvSpPr>
          <p:cNvPr id="16" name="Content Placeholder 18">
            <a:extLst>
              <a:ext uri="{FF2B5EF4-FFF2-40B4-BE49-F238E27FC236}">
                <a16:creationId xmlns:a16="http://schemas.microsoft.com/office/drawing/2014/main" id="{6D8ADE6A-DB0E-DDC5-A2C4-595D1F570E38}"/>
              </a:ext>
            </a:extLst>
          </p:cNvPr>
          <p:cNvSpPr>
            <a:spLocks noGrp="1"/>
          </p:cNvSpPr>
          <p:nvPr>
            <p:ph sz="quarter" idx="17" hasCustomPrompt="1"/>
          </p:nvPr>
        </p:nvSpPr>
        <p:spPr>
          <a:xfrm>
            <a:off x="8284389" y="1441566"/>
            <a:ext cx="3502799" cy="307777"/>
          </a:xfrm>
          <a:gradFill>
            <a:gsLst>
              <a:gs pos="94000">
                <a:schemeClr val="bg1"/>
              </a:gs>
              <a:gs pos="95000">
                <a:schemeClr val="accent1"/>
              </a:gs>
            </a:gsLst>
            <a:lin ang="5400000" scaled="1"/>
          </a:gradFill>
        </p:spPr>
        <p:txBody>
          <a:bodyPr lIns="0" rIns="0" anchor="b" anchorCtr="0">
            <a:noAutofit/>
          </a:bodyPr>
          <a:lstStyle>
            <a:lvl1pPr marL="0" indent="0">
              <a:buNone/>
              <a:defRPr sz="1300" b="1">
                <a:solidFill>
                  <a:schemeClr val="accent2"/>
                </a:solidFill>
              </a:defRPr>
            </a:lvl1pPr>
          </a:lstStyle>
          <a:p>
            <a:pPr lvl="0"/>
            <a:r>
              <a:rPr lang="en-US"/>
              <a:t>Sub-heading</a:t>
            </a:r>
          </a:p>
        </p:txBody>
      </p:sp>
    </p:spTree>
    <p:extLst>
      <p:ext uri="{BB962C8B-B14F-4D97-AF65-F5344CB8AC3E}">
        <p14:creationId xmlns:p14="http://schemas.microsoft.com/office/powerpoint/2010/main" val="35576150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E5080-C5E2-41C1-EAED-98A4607DFB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EC0C31F-0EAE-D629-5749-3E9EC30460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9107A1-8D6B-D12A-BA70-943253F41D97}"/>
              </a:ext>
            </a:extLst>
          </p:cNvPr>
          <p:cNvSpPr>
            <a:spLocks noGrp="1"/>
          </p:cNvSpPr>
          <p:nvPr>
            <p:ph type="dt" sz="half" idx="10"/>
          </p:nvPr>
        </p:nvSpPr>
        <p:spPr/>
        <p:txBody>
          <a:bodyPr/>
          <a:lstStyle/>
          <a:p>
            <a:pPr>
              <a:defRPr/>
            </a:pPr>
            <a:fld id="{30B47C29-5C6F-471E-95F7-1F63A885DBDF}" type="datetime1">
              <a:rPr lang="en-US"/>
              <a:pPr>
                <a:defRPr/>
              </a:pPr>
              <a:t>1/18/26</a:t>
            </a:fld>
            <a:endParaRPr lang="en-US"/>
          </a:p>
        </p:txBody>
      </p:sp>
      <p:sp>
        <p:nvSpPr>
          <p:cNvPr id="5" name="Footer Placeholder 4">
            <a:extLst>
              <a:ext uri="{FF2B5EF4-FFF2-40B4-BE49-F238E27FC236}">
                <a16:creationId xmlns:a16="http://schemas.microsoft.com/office/drawing/2014/main" id="{B92D6B77-5DCC-95B4-8FBE-91711E1F3159}"/>
              </a:ext>
            </a:extLst>
          </p:cNvPr>
          <p:cNvSpPr>
            <a:spLocks noGrp="1"/>
          </p:cNvSpPr>
          <p:nvPr>
            <p:ph type="ftr" sz="quarter" idx="11"/>
          </p:nvPr>
        </p:nvSpPr>
        <p:spPr/>
        <p:txBody>
          <a:bodyPr/>
          <a:lstStyle/>
          <a:p>
            <a:pPr>
              <a:defRPr/>
            </a:pPr>
            <a:r>
              <a:rPr lang="en-US"/>
              <a:t>Document title or footer</a:t>
            </a:r>
          </a:p>
        </p:txBody>
      </p:sp>
      <p:sp>
        <p:nvSpPr>
          <p:cNvPr id="6" name="Slide Number Placeholder 5">
            <a:extLst>
              <a:ext uri="{FF2B5EF4-FFF2-40B4-BE49-F238E27FC236}">
                <a16:creationId xmlns:a16="http://schemas.microsoft.com/office/drawing/2014/main" id="{9075BCE0-7387-7BD4-9B72-CB09D7135443}"/>
              </a:ext>
            </a:extLst>
          </p:cNvPr>
          <p:cNvSpPr>
            <a:spLocks noGrp="1"/>
          </p:cNvSpPr>
          <p:nvPr>
            <p:ph type="sldNum" sz="quarter" idx="12"/>
          </p:nvPr>
        </p:nvSpPr>
        <p:spPr/>
        <p:txBody>
          <a:bodyPr/>
          <a:lstStyle/>
          <a:p>
            <a:pPr>
              <a:defRPr/>
            </a:pPr>
            <a:fld id="{852CAB9C-DF0A-48F4-9927-FA079AB5108C}" type="slidenum">
              <a:rPr lang="en-US"/>
              <a:pPr>
                <a:defRPr/>
              </a:pPr>
              <a:t>‹#›</a:t>
            </a:fld>
            <a:endParaRPr lang="en-US"/>
          </a:p>
        </p:txBody>
      </p:sp>
    </p:spTree>
    <p:extLst>
      <p:ext uri="{BB962C8B-B14F-4D97-AF65-F5344CB8AC3E}">
        <p14:creationId xmlns:p14="http://schemas.microsoft.com/office/powerpoint/2010/main" val="2375753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5" hidden="1">
            <a:extLst>
              <a:ext uri="{FF2B5EF4-FFF2-40B4-BE49-F238E27FC236}">
                <a16:creationId xmlns:a16="http://schemas.microsoft.com/office/drawing/2014/main" id="{622FCBC4-D654-64E4-5D0A-D0F186DE039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5" hidden="1">
                        <a:extLst>
                          <a:ext uri="{FF2B5EF4-FFF2-40B4-BE49-F238E27FC236}">
                            <a16:creationId xmlns:a16="http://schemas.microsoft.com/office/drawing/2014/main" id="{622FCBC4-D654-64E4-5D0A-D0F186DE03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5">
            <a:extLst>
              <a:ext uri="{FF2B5EF4-FFF2-40B4-BE49-F238E27FC236}">
                <a16:creationId xmlns:a16="http://schemas.microsoft.com/office/drawing/2014/main" id="{ED5A5252-E41D-C69E-7315-BBA2505BD956}"/>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82CF480D-7440-B787-862E-09D342B4D23F}"/>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7">
            <a:extLst>
              <a:ext uri="{FF2B5EF4-FFF2-40B4-BE49-F238E27FC236}">
                <a16:creationId xmlns:a16="http://schemas.microsoft.com/office/drawing/2014/main" id="{E4F68332-8C07-6344-6084-E91CD17886FA}"/>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6">
            <a:extLst>
              <a:ext uri="{FF2B5EF4-FFF2-40B4-BE49-F238E27FC236}">
                <a16:creationId xmlns:a16="http://schemas.microsoft.com/office/drawing/2014/main" id="{DD610AD7-1301-E303-AA58-1E04F71DC2A1}"/>
              </a:ext>
            </a:extLst>
          </p:cNvPr>
          <p:cNvSpPr>
            <a:spLocks/>
          </p:cNvSpPr>
          <p:nvPr/>
        </p:nvSpPr>
        <p:spPr bwMode="auto">
          <a:xfrm>
            <a:off x="679450" y="698500"/>
            <a:ext cx="1800225" cy="681038"/>
          </a:xfrm>
          <a:custGeom>
            <a:avLst/>
            <a:gdLst>
              <a:gd name="T0" fmla="*/ 0 w 634365"/>
              <a:gd name="T1" fmla="*/ 669533 h 240029"/>
              <a:gd name="T2" fmla="*/ 137164 w 634365"/>
              <a:gd name="T3" fmla="*/ 0 h 240029"/>
              <a:gd name="T4" fmla="*/ 294568 w 634365"/>
              <a:gd name="T5" fmla="*/ 669533 h 240029"/>
              <a:gd name="T6" fmla="*/ 269833 w 634365"/>
              <a:gd name="T7" fmla="*/ 437338 h 240029"/>
              <a:gd name="T8" fmla="*/ 294568 w 634365"/>
              <a:gd name="T9" fmla="*/ 205141 h 240029"/>
              <a:gd name="T10" fmla="*/ 294568 w 634365"/>
              <a:gd name="T11" fmla="*/ 669533 h 240029"/>
              <a:gd name="T12" fmla="*/ 1209753 w 634365"/>
              <a:gd name="T13" fmla="*/ 669533 h 240029"/>
              <a:gd name="T14" fmla="*/ 1346920 w 634365"/>
              <a:gd name="T15" fmla="*/ 0 h 240029"/>
              <a:gd name="T16" fmla="*/ 1639240 w 634365"/>
              <a:gd name="T17" fmla="*/ 669533 h 240029"/>
              <a:gd name="T18" fmla="*/ 1346920 w 634365"/>
              <a:gd name="T19" fmla="*/ 437338 h 240029"/>
              <a:gd name="T20" fmla="*/ 1639240 w 634365"/>
              <a:gd name="T21" fmla="*/ 205141 h 240029"/>
              <a:gd name="T22" fmla="*/ 1639240 w 634365"/>
              <a:gd name="T23" fmla="*/ 669533 h 240029"/>
              <a:gd name="T24" fmla="*/ 549048 w 634365"/>
              <a:gd name="T25" fmla="*/ 667913 h 240029"/>
              <a:gd name="T26" fmla="*/ 479271 w 634365"/>
              <a:gd name="T27" fmla="*/ 568581 h 240029"/>
              <a:gd name="T28" fmla="*/ 472208 w 634365"/>
              <a:gd name="T29" fmla="*/ 205141 h 240029"/>
              <a:gd name="T30" fmla="*/ 604925 w 634365"/>
              <a:gd name="T31" fmla="*/ 450864 h 240029"/>
              <a:gd name="T32" fmla="*/ 613027 w 634365"/>
              <a:gd name="T33" fmla="*/ 534837 h 240029"/>
              <a:gd name="T34" fmla="*/ 670087 w 634365"/>
              <a:gd name="T35" fmla="*/ 570343 h 240029"/>
              <a:gd name="T36" fmla="*/ 879208 w 634365"/>
              <a:gd name="T37" fmla="*/ 604158 h 240029"/>
              <a:gd name="T38" fmla="*/ 724650 w 634365"/>
              <a:gd name="T39" fmla="*/ 636106 h 240029"/>
              <a:gd name="T40" fmla="*/ 664009 w 634365"/>
              <a:gd name="T41" fmla="*/ 675485 h 240029"/>
              <a:gd name="T42" fmla="*/ 879208 w 634365"/>
              <a:gd name="T43" fmla="*/ 570343 h 240029"/>
              <a:gd name="T44" fmla="*/ 705748 w 634365"/>
              <a:gd name="T45" fmla="*/ 563721 h 240029"/>
              <a:gd name="T46" fmla="*/ 742498 w 634365"/>
              <a:gd name="T47" fmla="*/ 505672 h 240029"/>
              <a:gd name="T48" fmla="*/ 746539 w 634365"/>
              <a:gd name="T49" fmla="*/ 205141 h 240029"/>
              <a:gd name="T50" fmla="*/ 879208 w 634365"/>
              <a:gd name="T51" fmla="*/ 570343 h 240029"/>
              <a:gd name="T52" fmla="*/ 746539 w 634365"/>
              <a:gd name="T53" fmla="*/ 669533 h 240029"/>
              <a:gd name="T54" fmla="*/ 879208 w 634365"/>
              <a:gd name="T55" fmla="*/ 604158 h 240029"/>
              <a:gd name="T56" fmla="*/ 1149041 w 634365"/>
              <a:gd name="T57" fmla="*/ 669533 h 240029"/>
              <a:gd name="T58" fmla="*/ 1040195 w 634365"/>
              <a:gd name="T59" fmla="*/ 664321 h 240029"/>
              <a:gd name="T60" fmla="*/ 970067 w 634365"/>
              <a:gd name="T61" fmla="*/ 604862 h 240029"/>
              <a:gd name="T62" fmla="*/ 962407 w 634365"/>
              <a:gd name="T63" fmla="*/ 0 h 240029"/>
              <a:gd name="T64" fmla="*/ 1099571 w 634365"/>
              <a:gd name="T65" fmla="*/ 504968 h 240029"/>
              <a:gd name="T66" fmla="*/ 1100028 w 634365"/>
              <a:gd name="T67" fmla="*/ 530186 h 240029"/>
              <a:gd name="T68" fmla="*/ 1124834 w 634365"/>
              <a:gd name="T69" fmla="*/ 554423 h 240029"/>
              <a:gd name="T70" fmla="*/ 1149041 w 634365"/>
              <a:gd name="T71" fmla="*/ 669533 h 240029"/>
              <a:gd name="T72" fmla="*/ 1706698 w 634365"/>
              <a:gd name="T73" fmla="*/ 214161 h 240029"/>
              <a:gd name="T74" fmla="*/ 1742676 w 634365"/>
              <a:gd name="T75" fmla="*/ 205141 h 240029"/>
              <a:gd name="T76" fmla="*/ 1729185 w 634365"/>
              <a:gd name="T77" fmla="*/ 247973 h 240029"/>
              <a:gd name="T78" fmla="*/ 1720189 w 634365"/>
              <a:gd name="T79" fmla="*/ 214161 h 240029"/>
              <a:gd name="T80" fmla="*/ 1729185 w 634365"/>
              <a:gd name="T81" fmla="*/ 247973 h 240029"/>
              <a:gd name="T82" fmla="*/ 1749422 w 634365"/>
              <a:gd name="T83" fmla="*/ 247973 h 240029"/>
              <a:gd name="T84" fmla="*/ 1765164 w 634365"/>
              <a:gd name="T85" fmla="*/ 205141 h 240029"/>
              <a:gd name="T86" fmla="*/ 1760666 w 634365"/>
              <a:gd name="T87" fmla="*/ 218669 h 240029"/>
              <a:gd name="T88" fmla="*/ 1782806 w 634365"/>
              <a:gd name="T89" fmla="*/ 234447 h 240029"/>
              <a:gd name="T90" fmla="*/ 1783153 w 634365"/>
              <a:gd name="T91" fmla="*/ 205141 h 240029"/>
              <a:gd name="T92" fmla="*/ 1798891 w 634365"/>
              <a:gd name="T93" fmla="*/ 218669 h 240029"/>
              <a:gd name="T94" fmla="*/ 1782806 w 634365"/>
              <a:gd name="T95" fmla="*/ 234447 h 240029"/>
              <a:gd name="T96" fmla="*/ 1769659 w 634365"/>
              <a:gd name="T97" fmla="*/ 247973 h 240029"/>
              <a:gd name="T98" fmla="*/ 1769312 w 634365"/>
              <a:gd name="T99" fmla="*/ 218669 h 240029"/>
              <a:gd name="T100" fmla="*/ 1782806 w 634365"/>
              <a:gd name="T101" fmla="*/ 234447 h 240029"/>
              <a:gd name="T102" fmla="*/ 1798891 w 634365"/>
              <a:gd name="T103" fmla="*/ 247973 h 240029"/>
              <a:gd name="T104" fmla="*/ 1787648 w 634365"/>
              <a:gd name="T105" fmla="*/ 218669 h 240029"/>
              <a:gd name="T106" fmla="*/ 1798891 w 634365"/>
              <a:gd name="T107" fmla="*/ 247973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 name="Title 1"/>
          <p:cNvSpPr>
            <a:spLocks noGrp="1"/>
          </p:cNvSpPr>
          <p:nvPr>
            <p:ph type="ctrTitle"/>
          </p:nvPr>
        </p:nvSpPr>
        <p:spPr>
          <a:xfrm>
            <a:off x="596348" y="2731405"/>
            <a:ext cx="9144000" cy="590931"/>
          </a:xfrm>
        </p:spPr>
        <p:txBody>
          <a:bodyPr anchor="b"/>
          <a:lstStyle>
            <a:lvl1pPr algn="l">
              <a:defRPr sz="36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96348" y="3414411"/>
            <a:ext cx="9144000" cy="40011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58216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46CB5C15-8822-060B-FCFA-75A3B752A2F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46CB5C15-8822-060B-FCFA-75A3B752A2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4">
            <a:extLst>
              <a:ext uri="{FF2B5EF4-FFF2-40B4-BE49-F238E27FC236}">
                <a16:creationId xmlns:a16="http://schemas.microsoft.com/office/drawing/2014/main" id="{A2FF0E74-181C-37AB-CB34-49E683DBE632}"/>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D915354E-C03D-4EE2-DD48-A04BFD8E81DC}"/>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971D6977-D4B8-6454-BE97-82CB78FEAA3D}"/>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35723325-81D9-EDBF-EF04-F9518179E37A}"/>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D656F0BA-AA3E-917A-92C7-A98E11BBA948}"/>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5" hidden="1">
            <a:extLst>
              <a:ext uri="{FF2B5EF4-FFF2-40B4-BE49-F238E27FC236}">
                <a16:creationId xmlns:a16="http://schemas.microsoft.com/office/drawing/2014/main" id="{F31028E4-08E0-2A8B-CCA7-AE438F4991F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5" hidden="1">
                        <a:extLst>
                          <a:ext uri="{FF2B5EF4-FFF2-40B4-BE49-F238E27FC236}">
                            <a16:creationId xmlns:a16="http://schemas.microsoft.com/office/drawing/2014/main" id="{F31028E4-08E0-2A8B-CCA7-AE438F4991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a:extLst>
              <a:ext uri="{FF2B5EF4-FFF2-40B4-BE49-F238E27FC236}">
                <a16:creationId xmlns:a16="http://schemas.microsoft.com/office/drawing/2014/main" id="{BA2446A9-7DA0-7F0C-215D-03DE768651A2}"/>
              </a:ext>
            </a:extLst>
          </p:cNvPr>
          <p:cNvSpPr>
            <a:spLocks noGrp="1"/>
          </p:cNvSpPr>
          <p:nvPr>
            <p:ph type="dt" sz="half" idx="10"/>
          </p:nvPr>
        </p:nvSpPr>
        <p:spPr/>
        <p:txBody>
          <a:bodyPr/>
          <a:lstStyle>
            <a:lvl1pPr>
              <a:defRPr/>
            </a:lvl1pPr>
          </a:lstStyle>
          <a:p>
            <a:pPr>
              <a:defRPr/>
            </a:pPr>
            <a:fld id="{E0A7CA05-1294-4950-A354-5F9EF72D71F8}" type="datetime1">
              <a:rPr lang="en-US"/>
              <a:pPr>
                <a:defRPr/>
              </a:pPr>
              <a:t>1/18/26</a:t>
            </a:fld>
            <a:endParaRPr lang="en-US"/>
          </a:p>
        </p:txBody>
      </p:sp>
      <p:sp>
        <p:nvSpPr>
          <p:cNvPr id="13" name="Footer Placeholder 4">
            <a:extLst>
              <a:ext uri="{FF2B5EF4-FFF2-40B4-BE49-F238E27FC236}">
                <a16:creationId xmlns:a16="http://schemas.microsoft.com/office/drawing/2014/main" id="{BC6EB24C-848E-8C94-3129-541E9C2BD1CB}"/>
              </a:ext>
            </a:extLst>
          </p:cNvPr>
          <p:cNvSpPr>
            <a:spLocks noGrp="1"/>
          </p:cNvSpPr>
          <p:nvPr>
            <p:ph type="ftr" sz="quarter" idx="11"/>
          </p:nvPr>
        </p:nvSpPr>
        <p:spPr/>
        <p:txBody>
          <a:bodyPr/>
          <a:lstStyle>
            <a:lvl1pPr>
              <a:defRPr/>
            </a:lvl1pPr>
          </a:lstStyle>
          <a:p>
            <a:pPr>
              <a:defRPr/>
            </a:pPr>
            <a:r>
              <a:rPr lang="en-US"/>
              <a:t>Document title or footer</a:t>
            </a:r>
          </a:p>
        </p:txBody>
      </p:sp>
      <p:sp>
        <p:nvSpPr>
          <p:cNvPr id="14" name="Slide Number Placeholder 5">
            <a:extLst>
              <a:ext uri="{FF2B5EF4-FFF2-40B4-BE49-F238E27FC236}">
                <a16:creationId xmlns:a16="http://schemas.microsoft.com/office/drawing/2014/main" id="{1FA6D902-B731-CE9A-6DD6-CA58A3319BA8}"/>
              </a:ext>
            </a:extLst>
          </p:cNvPr>
          <p:cNvSpPr>
            <a:spLocks noGrp="1"/>
          </p:cNvSpPr>
          <p:nvPr>
            <p:ph type="sldNum" sz="quarter" idx="12"/>
          </p:nvPr>
        </p:nvSpPr>
        <p:spPr/>
        <p:txBody>
          <a:bodyPr/>
          <a:lstStyle>
            <a:lvl1pPr>
              <a:defRPr/>
            </a:lvl1pPr>
          </a:lstStyle>
          <a:p>
            <a:pPr>
              <a:defRPr/>
            </a:pPr>
            <a:fld id="{A57F7166-DB40-46CF-BE63-54EF233AEA61}" type="slidenum">
              <a:rPr lang="en-US"/>
              <a:pPr>
                <a:defRPr/>
              </a:pPr>
              <a:t>‹#›</a:t>
            </a:fld>
            <a:endParaRPr lang="en-US"/>
          </a:p>
        </p:txBody>
      </p:sp>
      <p:sp>
        <p:nvSpPr>
          <p:cNvPr id="15" name="Plassholder for bunntekst 1">
            <a:extLst>
              <a:ext uri="{FF2B5EF4-FFF2-40B4-BE49-F238E27FC236}">
                <a16:creationId xmlns:a16="http://schemas.microsoft.com/office/drawing/2014/main" id="{58E951E4-45AE-4F1E-89BB-A68773E2F013}"/>
              </a:ext>
            </a:extLst>
          </p:cNvPr>
          <p:cNvSpPr txBox="1">
            <a:spLocks/>
          </p:cNvSpPr>
          <p:nvPr userDrawn="1"/>
        </p:nvSpPr>
        <p:spPr>
          <a:xfrm>
            <a:off x="4038600" y="6345238"/>
            <a:ext cx="4114800" cy="365125"/>
          </a:xfrm>
          <a:prstGeom prst="rect">
            <a:avLst/>
          </a:prstGeom>
        </p:spPr>
        <p:txBody>
          <a:bodyPr vert="horz" wrap="square" lIns="91440" tIns="45720" rIns="91440" bIns="45720" rtlCol="0" anchor="ctr">
            <a:spAutoFit/>
          </a:bodyPr>
          <a:lstStyle>
            <a:defPPr>
              <a:defRPr lang="en-US"/>
            </a:defPPr>
            <a:lvl1pPr algn="ctr" rtl="0" eaLnBrk="1" fontAlgn="auto" hangingPunct="1">
              <a:spcBef>
                <a:spcPts val="0"/>
              </a:spcBef>
              <a:spcAft>
                <a:spcPts val="0"/>
              </a:spcAft>
              <a:defRPr sz="1200" kern="1200">
                <a:solidFill>
                  <a:srgbClr val="F2F2F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35823177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CFE801BF-2C1A-7392-ED1B-4B5F7A24144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7" hidden="1">
                        <a:extLst>
                          <a:ext uri="{FF2B5EF4-FFF2-40B4-BE49-F238E27FC236}">
                            <a16:creationId xmlns:a16="http://schemas.microsoft.com/office/drawing/2014/main" id="{CFE801BF-2C1A-7392-ED1B-4B5F7A2414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4E166579-1604-040D-DFA4-85AF789097E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5A5B0F12-93BF-1C1B-EBED-4E44944390E6}"/>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0CD38E17-C404-EDB1-C4BC-DFA99A55E0D7}"/>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3490F8F0-612A-FE3D-05EC-61F2C162EEB3}"/>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E54BCEBF-EB77-9D1E-25C5-3BCA643D189E}"/>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C3E0D8B2-BCDE-B3B7-CB04-68987A6E7B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C3E0D8B2-BCDE-B3B7-CB04-68987A6E7B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object 2">
            <a:extLst>
              <a:ext uri="{FF2B5EF4-FFF2-40B4-BE49-F238E27FC236}">
                <a16:creationId xmlns:a16="http://schemas.microsoft.com/office/drawing/2014/main" id="{3E3055AE-AF07-F8FF-E1B8-706D8F25A70F}"/>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2" name="object 2">
            <a:extLst>
              <a:ext uri="{FF2B5EF4-FFF2-40B4-BE49-F238E27FC236}">
                <a16:creationId xmlns:a16="http://schemas.microsoft.com/office/drawing/2014/main" id="{988E7227-FCBA-EC97-795B-C7A56B5B0903}"/>
              </a:ext>
            </a:extLst>
          </p:cNvPr>
          <p:cNvGrpSpPr>
            <a:grpSpLocks/>
          </p:cNvGrpSpPr>
          <p:nvPr/>
        </p:nvGrpSpPr>
        <p:grpSpPr bwMode="auto">
          <a:xfrm>
            <a:off x="11002963" y="0"/>
            <a:ext cx="1163637" cy="1343025"/>
            <a:chOff x="11002424" y="0"/>
            <a:chExt cx="1163955" cy="1342390"/>
          </a:xfrm>
        </p:grpSpPr>
        <p:sp>
          <p:nvSpPr>
            <p:cNvPr id="13" name="object 3">
              <a:extLst>
                <a:ext uri="{FF2B5EF4-FFF2-40B4-BE49-F238E27FC236}">
                  <a16:creationId xmlns:a16="http://schemas.microsoft.com/office/drawing/2014/main" id="{C58BDE85-B90A-89EA-F605-CE001CC995D9}"/>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4">
              <a:extLst>
                <a:ext uri="{FF2B5EF4-FFF2-40B4-BE49-F238E27FC236}">
                  <a16:creationId xmlns:a16="http://schemas.microsoft.com/office/drawing/2014/main" id="{932CA098-8C9A-6746-18F2-7B16BBA6411C}"/>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5" name="Date Placeholder 3">
            <a:extLst>
              <a:ext uri="{FF2B5EF4-FFF2-40B4-BE49-F238E27FC236}">
                <a16:creationId xmlns:a16="http://schemas.microsoft.com/office/drawing/2014/main" id="{AB425D5C-CE9A-6E8E-0A53-3DC8A7F30724}"/>
              </a:ext>
            </a:extLst>
          </p:cNvPr>
          <p:cNvSpPr>
            <a:spLocks noGrp="1"/>
          </p:cNvSpPr>
          <p:nvPr>
            <p:ph type="dt" sz="half" idx="10"/>
          </p:nvPr>
        </p:nvSpPr>
        <p:spPr/>
        <p:txBody>
          <a:bodyPr/>
          <a:lstStyle>
            <a:lvl1pPr>
              <a:defRPr/>
            </a:lvl1pPr>
          </a:lstStyle>
          <a:p>
            <a:pPr>
              <a:defRPr/>
            </a:pPr>
            <a:fld id="{C6B19869-CDC0-45D4-93AB-7319CAE13FEC}" type="datetime1">
              <a:rPr lang="en-US"/>
              <a:pPr>
                <a:defRPr/>
              </a:pPr>
              <a:t>1/18/26</a:t>
            </a:fld>
            <a:endParaRPr lang="en-US"/>
          </a:p>
        </p:txBody>
      </p:sp>
      <p:sp>
        <p:nvSpPr>
          <p:cNvPr id="16" name="Footer Placeholder 4">
            <a:extLst>
              <a:ext uri="{FF2B5EF4-FFF2-40B4-BE49-F238E27FC236}">
                <a16:creationId xmlns:a16="http://schemas.microsoft.com/office/drawing/2014/main" id="{76C10456-076C-069B-9519-FFDDE7FE211C}"/>
              </a:ext>
            </a:extLst>
          </p:cNvPr>
          <p:cNvSpPr>
            <a:spLocks noGrp="1"/>
          </p:cNvSpPr>
          <p:nvPr>
            <p:ph type="ftr" sz="quarter" idx="11"/>
          </p:nvPr>
        </p:nvSpPr>
        <p:spPr/>
        <p:txBody>
          <a:bodyPr/>
          <a:lstStyle>
            <a:lvl1pPr>
              <a:defRPr/>
            </a:lvl1pPr>
          </a:lstStyle>
          <a:p>
            <a:pPr>
              <a:defRPr/>
            </a:pPr>
            <a:r>
              <a:rPr lang="en-US"/>
              <a:t>Document title or footer</a:t>
            </a:r>
          </a:p>
        </p:txBody>
      </p:sp>
      <p:sp>
        <p:nvSpPr>
          <p:cNvPr id="17" name="Slide Number Placeholder 5">
            <a:extLst>
              <a:ext uri="{FF2B5EF4-FFF2-40B4-BE49-F238E27FC236}">
                <a16:creationId xmlns:a16="http://schemas.microsoft.com/office/drawing/2014/main" id="{FA3445E9-C105-9817-BC2A-9B9D0265997D}"/>
              </a:ext>
            </a:extLst>
          </p:cNvPr>
          <p:cNvSpPr>
            <a:spLocks noGrp="1"/>
          </p:cNvSpPr>
          <p:nvPr>
            <p:ph type="sldNum" sz="quarter" idx="12"/>
          </p:nvPr>
        </p:nvSpPr>
        <p:spPr/>
        <p:txBody>
          <a:bodyPr/>
          <a:lstStyle>
            <a:lvl1pPr>
              <a:defRPr/>
            </a:lvl1pPr>
          </a:lstStyle>
          <a:p>
            <a:pPr>
              <a:defRPr/>
            </a:pPr>
            <a:fld id="{2B18E1D0-A8C0-4F5F-A481-60FF125A4B69}" type="slidenum">
              <a:rPr lang="en-US"/>
              <a:pPr>
                <a:defRPr/>
              </a:pPr>
              <a:t>‹#›</a:t>
            </a:fld>
            <a:endParaRPr lang="en-US"/>
          </a:p>
        </p:txBody>
      </p:sp>
      <p:sp>
        <p:nvSpPr>
          <p:cNvPr id="18" name="Plassholder for bunntekst 1">
            <a:extLst>
              <a:ext uri="{FF2B5EF4-FFF2-40B4-BE49-F238E27FC236}">
                <a16:creationId xmlns:a16="http://schemas.microsoft.com/office/drawing/2014/main" id="{645B0A05-E031-010C-7078-8446853A4014}"/>
              </a:ext>
            </a:extLst>
          </p:cNvPr>
          <p:cNvSpPr txBox="1">
            <a:spLocks/>
          </p:cNvSpPr>
          <p:nvPr userDrawn="1"/>
        </p:nvSpPr>
        <p:spPr>
          <a:xfrm>
            <a:off x="4038600" y="6478588"/>
            <a:ext cx="4114800" cy="365125"/>
          </a:xfrm>
          <a:prstGeom prst="rect">
            <a:avLst/>
          </a:prstGeom>
        </p:spPr>
        <p:txBody>
          <a:bodyPr vert="horz" wrap="square" lIns="91440" tIns="45720" rIns="91440" bIns="45720" rtlCol="0" anchor="ctr">
            <a:spAutoFit/>
          </a:bodyPr>
          <a:lstStyle>
            <a:defPPr>
              <a:defRPr lang="en-US"/>
            </a:defPPr>
            <a:lvl1pPr algn="ctr" rtl="0" eaLnBrk="1" fontAlgn="auto" hangingPunct="1">
              <a:spcBef>
                <a:spcPts val="0"/>
              </a:spcBef>
              <a:spcAft>
                <a:spcPts val="0"/>
              </a:spcAft>
              <a:defRPr sz="1200" kern="1200">
                <a:solidFill>
                  <a:srgbClr val="F2F2F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24676726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D0ABA13F-1F0C-A348-C0C5-D350119B90D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D0ABA13F-1F0C-A348-C0C5-D350119B90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66AC3D55-F68A-0DC1-C351-A8C9F90986C8}"/>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E647E83E-B290-818C-DEF3-DD9D8D4D92E3}"/>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838B33FC-D4A8-BBA5-7F68-E9B67E9EE21D}"/>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D5301EF6-6443-D8B9-C499-3E0FBF5701AC}"/>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3CA11EF5-A4FD-7E6F-36B5-2B86025E07CF}"/>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D5480887-C065-E54E-94F3-3E520AF77DF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D5480887-C065-E54E-94F3-3E520AF77D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object 2">
            <a:extLst>
              <a:ext uri="{FF2B5EF4-FFF2-40B4-BE49-F238E27FC236}">
                <a16:creationId xmlns:a16="http://schemas.microsoft.com/office/drawing/2014/main" id="{344A004F-1A1A-E33D-9D39-42F77331D0AF}"/>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2" name="object 2">
            <a:extLst>
              <a:ext uri="{FF2B5EF4-FFF2-40B4-BE49-F238E27FC236}">
                <a16:creationId xmlns:a16="http://schemas.microsoft.com/office/drawing/2014/main" id="{9011CB3A-C707-D480-EEB0-D23789CA6139}"/>
              </a:ext>
            </a:extLst>
          </p:cNvPr>
          <p:cNvGrpSpPr>
            <a:grpSpLocks/>
          </p:cNvGrpSpPr>
          <p:nvPr/>
        </p:nvGrpSpPr>
        <p:grpSpPr bwMode="auto">
          <a:xfrm>
            <a:off x="11002963" y="0"/>
            <a:ext cx="1163637" cy="1343025"/>
            <a:chOff x="11002424" y="0"/>
            <a:chExt cx="1163955" cy="1342390"/>
          </a:xfrm>
        </p:grpSpPr>
        <p:sp>
          <p:nvSpPr>
            <p:cNvPr id="13" name="object 3">
              <a:extLst>
                <a:ext uri="{FF2B5EF4-FFF2-40B4-BE49-F238E27FC236}">
                  <a16:creationId xmlns:a16="http://schemas.microsoft.com/office/drawing/2014/main" id="{2CB3252F-ADBD-B294-AA53-CA1FD05B014D}"/>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4">
              <a:extLst>
                <a:ext uri="{FF2B5EF4-FFF2-40B4-BE49-F238E27FC236}">
                  <a16:creationId xmlns:a16="http://schemas.microsoft.com/office/drawing/2014/main" id="{BE13A970-10D7-C491-5029-69014D4996D9}"/>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Title 1"/>
          <p:cNvSpPr>
            <a:spLocks noGrp="1"/>
          </p:cNvSpPr>
          <p:nvPr>
            <p:ph type="title"/>
          </p:nvPr>
        </p:nvSpPr>
        <p:spPr>
          <a:xfrm>
            <a:off x="593310" y="4035779"/>
            <a:ext cx="10515600" cy="535531"/>
          </a:xfrm>
        </p:spPr>
        <p:txBody>
          <a:bodyPr anchor="b"/>
          <a:lstStyle>
            <a:lvl1pPr>
              <a:defRPr sz="3200">
                <a:solidFill>
                  <a:schemeClr val="bg1"/>
                </a:solidFill>
              </a:defRPr>
            </a:lvl1pPr>
          </a:lstStyle>
          <a:p>
            <a:r>
              <a:rPr lang="en-US"/>
              <a:t>Click to edit Master title style</a:t>
            </a:r>
          </a:p>
        </p:txBody>
      </p:sp>
      <p:sp>
        <p:nvSpPr>
          <p:cNvPr id="15" name="Date Placeholder 3">
            <a:extLst>
              <a:ext uri="{FF2B5EF4-FFF2-40B4-BE49-F238E27FC236}">
                <a16:creationId xmlns:a16="http://schemas.microsoft.com/office/drawing/2014/main" id="{7A528B30-8138-D52F-52BA-8F7FD49CE804}"/>
              </a:ext>
            </a:extLst>
          </p:cNvPr>
          <p:cNvSpPr>
            <a:spLocks noGrp="1"/>
          </p:cNvSpPr>
          <p:nvPr>
            <p:ph type="dt" sz="half" idx="10"/>
          </p:nvPr>
        </p:nvSpPr>
        <p:spPr/>
        <p:txBody>
          <a:bodyPr/>
          <a:lstStyle>
            <a:lvl1pPr>
              <a:defRPr/>
            </a:lvl1pPr>
          </a:lstStyle>
          <a:p>
            <a:pPr>
              <a:defRPr/>
            </a:pPr>
            <a:fld id="{B11401B4-997B-4DE1-9642-DF751AEA080B}" type="datetime1">
              <a:rPr lang="en-US"/>
              <a:pPr>
                <a:defRPr/>
              </a:pPr>
              <a:t>1/18/26</a:t>
            </a:fld>
            <a:endParaRPr lang="en-US"/>
          </a:p>
        </p:txBody>
      </p:sp>
      <p:sp>
        <p:nvSpPr>
          <p:cNvPr id="16" name="Footer Placeholder 4">
            <a:extLst>
              <a:ext uri="{FF2B5EF4-FFF2-40B4-BE49-F238E27FC236}">
                <a16:creationId xmlns:a16="http://schemas.microsoft.com/office/drawing/2014/main" id="{469617AD-DCD5-0F23-7130-EED26D269F1D}"/>
              </a:ext>
            </a:extLst>
          </p:cNvPr>
          <p:cNvSpPr>
            <a:spLocks noGrp="1"/>
          </p:cNvSpPr>
          <p:nvPr>
            <p:ph type="ftr" sz="quarter" idx="11"/>
          </p:nvPr>
        </p:nvSpPr>
        <p:spPr/>
        <p:txBody>
          <a:bodyPr/>
          <a:lstStyle>
            <a:lvl1pPr>
              <a:defRPr/>
            </a:lvl1pPr>
          </a:lstStyle>
          <a:p>
            <a:pPr>
              <a:defRPr/>
            </a:pPr>
            <a:r>
              <a:rPr lang="en-US"/>
              <a:t>Document title or footer</a:t>
            </a:r>
          </a:p>
        </p:txBody>
      </p:sp>
      <p:sp>
        <p:nvSpPr>
          <p:cNvPr id="17" name="Slide Number Placeholder 5">
            <a:extLst>
              <a:ext uri="{FF2B5EF4-FFF2-40B4-BE49-F238E27FC236}">
                <a16:creationId xmlns:a16="http://schemas.microsoft.com/office/drawing/2014/main" id="{A522A81B-9ACC-9A94-04C2-FDF5DF495456}"/>
              </a:ext>
            </a:extLst>
          </p:cNvPr>
          <p:cNvSpPr>
            <a:spLocks noGrp="1"/>
          </p:cNvSpPr>
          <p:nvPr>
            <p:ph type="sldNum" sz="quarter" idx="12"/>
          </p:nvPr>
        </p:nvSpPr>
        <p:spPr/>
        <p:txBody>
          <a:bodyPr/>
          <a:lstStyle>
            <a:lvl1pPr>
              <a:defRPr/>
            </a:lvl1pPr>
          </a:lstStyle>
          <a:p>
            <a:pPr>
              <a:defRPr/>
            </a:pPr>
            <a:fld id="{5555B28D-6D0F-41CF-B9C0-5CF6349D2CD5}" type="slidenum">
              <a:rPr lang="en-US"/>
              <a:pPr>
                <a:defRPr/>
              </a:pPr>
              <a:t>‹#›</a:t>
            </a:fld>
            <a:endParaRPr lang="en-US"/>
          </a:p>
        </p:txBody>
      </p:sp>
      <p:sp>
        <p:nvSpPr>
          <p:cNvPr id="18" name="Plassholder for bunntekst 1">
            <a:extLst>
              <a:ext uri="{FF2B5EF4-FFF2-40B4-BE49-F238E27FC236}">
                <a16:creationId xmlns:a16="http://schemas.microsoft.com/office/drawing/2014/main" id="{0DD31FCC-9C7E-2C80-D09C-EB0A24B2FE6E}"/>
              </a:ext>
            </a:extLst>
          </p:cNvPr>
          <p:cNvSpPr txBox="1">
            <a:spLocks/>
          </p:cNvSpPr>
          <p:nvPr userDrawn="1"/>
        </p:nvSpPr>
        <p:spPr>
          <a:xfrm>
            <a:off x="4038600" y="6478588"/>
            <a:ext cx="4114800" cy="365125"/>
          </a:xfrm>
          <a:prstGeom prst="rect">
            <a:avLst/>
          </a:prstGeom>
        </p:spPr>
        <p:txBody>
          <a:bodyPr vert="horz" wrap="square" lIns="91440" tIns="45720" rIns="91440" bIns="45720" rtlCol="0" anchor="ctr">
            <a:spAutoFit/>
          </a:bodyPr>
          <a:lstStyle>
            <a:defPPr>
              <a:defRPr lang="en-US"/>
            </a:defPPr>
            <a:lvl1pPr algn="ctr" rtl="0" eaLnBrk="1" fontAlgn="auto" hangingPunct="1">
              <a:spcBef>
                <a:spcPts val="0"/>
              </a:spcBef>
              <a:spcAft>
                <a:spcPts val="0"/>
              </a:spcAft>
              <a:defRPr sz="1200" kern="1200">
                <a:solidFill>
                  <a:srgbClr val="F2F2F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418840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2 Col Text">
    <p:spTree>
      <p:nvGrpSpPr>
        <p:cNvPr id="1" name=""/>
        <p:cNvGrpSpPr/>
        <p:nvPr/>
      </p:nvGrpSpPr>
      <p:grpSpPr>
        <a:xfrm>
          <a:off x="0" y="0"/>
          <a:ext cx="0" cy="0"/>
          <a:chOff x="0" y="0"/>
          <a:chExt cx="0" cy="0"/>
        </a:xfrm>
      </p:grpSpPr>
      <p:graphicFrame>
        <p:nvGraphicFramePr>
          <p:cNvPr id="5" name="Object 7" hidden="1">
            <a:extLst>
              <a:ext uri="{FF2B5EF4-FFF2-40B4-BE49-F238E27FC236}">
                <a16:creationId xmlns:a16="http://schemas.microsoft.com/office/drawing/2014/main" id="{5483AC76-CA81-F13E-3DE9-4D3E4840725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a:extLst>
                          <a:ext uri="{FF2B5EF4-FFF2-40B4-BE49-F238E27FC236}">
                            <a16:creationId xmlns:a16="http://schemas.microsoft.com/office/drawing/2014/main" id="{5483AC76-CA81-F13E-3DE9-4D3E484072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object 4">
            <a:extLst>
              <a:ext uri="{FF2B5EF4-FFF2-40B4-BE49-F238E27FC236}">
                <a16:creationId xmlns:a16="http://schemas.microsoft.com/office/drawing/2014/main" id="{03DF2FF2-A3FD-22C3-FAB1-60F2BF75C167}"/>
              </a:ext>
            </a:extLst>
          </p:cNvPr>
          <p:cNvSpPr>
            <a:spLocks/>
          </p:cNvSpPr>
          <p:nvPr userDrawn="1"/>
        </p:nvSpPr>
        <p:spPr bwMode="auto">
          <a:xfrm>
            <a:off x="0" y="6388100"/>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AFD3C2F5-629F-EC8C-BCFC-57E53006BA41}"/>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9" name="object 2">
            <a:extLst>
              <a:ext uri="{FF2B5EF4-FFF2-40B4-BE49-F238E27FC236}">
                <a16:creationId xmlns:a16="http://schemas.microsoft.com/office/drawing/2014/main" id="{939624FD-FE71-EBF4-7B77-D56DA2A0D542}"/>
              </a:ext>
            </a:extLst>
          </p:cNvPr>
          <p:cNvGrpSpPr>
            <a:grpSpLocks/>
          </p:cNvGrpSpPr>
          <p:nvPr/>
        </p:nvGrpSpPr>
        <p:grpSpPr bwMode="auto">
          <a:xfrm>
            <a:off x="11002963" y="-4763"/>
            <a:ext cx="1163637" cy="1343026"/>
            <a:chOff x="11002424" y="0"/>
            <a:chExt cx="1163955" cy="1342390"/>
          </a:xfrm>
        </p:grpSpPr>
        <p:sp>
          <p:nvSpPr>
            <p:cNvPr id="10" name="object 3">
              <a:extLst>
                <a:ext uri="{FF2B5EF4-FFF2-40B4-BE49-F238E27FC236}">
                  <a16:creationId xmlns:a16="http://schemas.microsoft.com/office/drawing/2014/main" id="{AE5AFA93-2545-F94D-231E-F215883B904C}"/>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1" name="object 4">
              <a:extLst>
                <a:ext uri="{FF2B5EF4-FFF2-40B4-BE49-F238E27FC236}">
                  <a16:creationId xmlns:a16="http://schemas.microsoft.com/office/drawing/2014/main" id="{D5EC652D-3362-760A-FE36-254EBC2131A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2" name="Object 15" hidden="1">
            <a:extLst>
              <a:ext uri="{FF2B5EF4-FFF2-40B4-BE49-F238E27FC236}">
                <a16:creationId xmlns:a16="http://schemas.microsoft.com/office/drawing/2014/main" id="{188EAD78-14BC-81D2-5306-89778B8D19A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2" name="Object 15" hidden="1">
                        <a:extLst>
                          <a:ext uri="{FF2B5EF4-FFF2-40B4-BE49-F238E27FC236}">
                            <a16:creationId xmlns:a16="http://schemas.microsoft.com/office/drawing/2014/main" id="{188EAD78-14BC-81D2-5306-89778B8D19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3" name="Straight Connector 12">
            <a:extLst>
              <a:ext uri="{FF2B5EF4-FFF2-40B4-BE49-F238E27FC236}">
                <a16:creationId xmlns:a16="http://schemas.microsoft.com/office/drawing/2014/main" id="{B856FCD9-6D9F-1DBF-DBB4-0D2D54D10583}"/>
              </a:ext>
            </a:extLst>
          </p:cNvPr>
          <p:cNvCxnSpPr>
            <a:cxnSpLocks/>
          </p:cNvCxnSpPr>
          <p:nvPr/>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966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5075"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4">
            <a:extLst>
              <a:ext uri="{FF2B5EF4-FFF2-40B4-BE49-F238E27FC236}">
                <a16:creationId xmlns:a16="http://schemas.microsoft.com/office/drawing/2014/main" id="{BAB8A1E3-D6B8-5E3B-0BC2-CBC8AF90FF3E}"/>
              </a:ext>
            </a:extLst>
          </p:cNvPr>
          <p:cNvSpPr>
            <a:spLocks noGrp="1"/>
          </p:cNvSpPr>
          <p:nvPr>
            <p:ph type="dt" sz="half" idx="10"/>
          </p:nvPr>
        </p:nvSpPr>
        <p:spPr/>
        <p:txBody>
          <a:bodyPr/>
          <a:lstStyle>
            <a:lvl1pPr>
              <a:defRPr/>
            </a:lvl1pPr>
          </a:lstStyle>
          <a:p>
            <a:pPr>
              <a:defRPr/>
            </a:pPr>
            <a:fld id="{CA7DF0B0-BDCA-4FE3-AC22-4FBB3D3757F0}" type="datetime1">
              <a:rPr lang="en-US"/>
              <a:pPr>
                <a:defRPr/>
              </a:pPr>
              <a:t>1/18/26</a:t>
            </a:fld>
            <a:endParaRPr lang="en-US"/>
          </a:p>
        </p:txBody>
      </p:sp>
      <p:sp>
        <p:nvSpPr>
          <p:cNvPr id="16" name="Slide Number Placeholder 6">
            <a:extLst>
              <a:ext uri="{FF2B5EF4-FFF2-40B4-BE49-F238E27FC236}">
                <a16:creationId xmlns:a16="http://schemas.microsoft.com/office/drawing/2014/main" id="{629319D4-CFEC-05E6-0768-8C8DD9203E2C}"/>
              </a:ext>
            </a:extLst>
          </p:cNvPr>
          <p:cNvSpPr>
            <a:spLocks noGrp="1"/>
          </p:cNvSpPr>
          <p:nvPr>
            <p:ph type="sldNum" sz="quarter" idx="12"/>
          </p:nvPr>
        </p:nvSpPr>
        <p:spPr/>
        <p:txBody>
          <a:bodyPr/>
          <a:lstStyle>
            <a:lvl1pPr>
              <a:defRPr/>
            </a:lvl1pPr>
          </a:lstStyle>
          <a:p>
            <a:pPr>
              <a:defRPr/>
            </a:pPr>
            <a:fld id="{87C40284-645D-406D-B2A5-BBF619366D72}" type="slidenum">
              <a:rPr lang="en-US"/>
              <a:pPr>
                <a:defRPr/>
              </a:pPr>
              <a:t>‹#›</a:t>
            </a:fld>
            <a:endParaRPr lang="en-US"/>
          </a:p>
        </p:txBody>
      </p:sp>
      <p:sp>
        <p:nvSpPr>
          <p:cNvPr id="17" name="Plassholder for bunntekst 1">
            <a:extLst>
              <a:ext uri="{FF2B5EF4-FFF2-40B4-BE49-F238E27FC236}">
                <a16:creationId xmlns:a16="http://schemas.microsoft.com/office/drawing/2014/main" id="{A2852BAB-3DE7-1052-91E8-B219AA1A335F}"/>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21286452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C439EE1C-9557-775D-F4F7-DBC1316B5ED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C439EE1C-9557-775D-F4F7-DBC1316B5E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0CCB175A-08B5-84E6-A57B-DCFA690F0E54}"/>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CF0EBF76-D1C1-0BA9-A81C-A378DF554137}"/>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DA9B134D-C624-C20A-E850-1A243EF71761}"/>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9BBE697F-674F-16AA-2284-01526D34137A}"/>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B748C7B3-5D45-BDAF-99D4-46B55310F373}"/>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699D28E0-065C-0BE4-BEE7-10809677F6E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699D28E0-065C-0BE4-BEE7-10809677F6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1" name="Date Placeholder 2">
            <a:extLst>
              <a:ext uri="{FF2B5EF4-FFF2-40B4-BE49-F238E27FC236}">
                <a16:creationId xmlns:a16="http://schemas.microsoft.com/office/drawing/2014/main" id="{850EFCE8-A702-8915-97EF-8C374089C323}"/>
              </a:ext>
            </a:extLst>
          </p:cNvPr>
          <p:cNvSpPr>
            <a:spLocks noGrp="1"/>
          </p:cNvSpPr>
          <p:nvPr>
            <p:ph type="dt" sz="half" idx="10"/>
          </p:nvPr>
        </p:nvSpPr>
        <p:spPr/>
        <p:txBody>
          <a:bodyPr/>
          <a:lstStyle>
            <a:lvl1pPr>
              <a:defRPr/>
            </a:lvl1pPr>
          </a:lstStyle>
          <a:p>
            <a:pPr>
              <a:defRPr/>
            </a:pPr>
            <a:fld id="{EF6FC64A-62D5-44F2-A4E4-973C0178EDB4}" type="datetime1">
              <a:rPr lang="en-US"/>
              <a:pPr>
                <a:defRPr/>
              </a:pPr>
              <a:t>1/18/26</a:t>
            </a:fld>
            <a:endParaRPr lang="en-US"/>
          </a:p>
        </p:txBody>
      </p:sp>
      <p:sp>
        <p:nvSpPr>
          <p:cNvPr id="12" name="Footer Placeholder 3">
            <a:extLst>
              <a:ext uri="{FF2B5EF4-FFF2-40B4-BE49-F238E27FC236}">
                <a16:creationId xmlns:a16="http://schemas.microsoft.com/office/drawing/2014/main" id="{44B9E4C5-CEE2-4242-BF40-33DADDB3802F}"/>
              </a:ext>
            </a:extLst>
          </p:cNvPr>
          <p:cNvSpPr>
            <a:spLocks noGrp="1"/>
          </p:cNvSpPr>
          <p:nvPr>
            <p:ph type="ftr" sz="quarter" idx="11"/>
          </p:nvPr>
        </p:nvSpPr>
        <p:spPr/>
        <p:txBody>
          <a:bodyPr/>
          <a:lstStyle>
            <a:lvl1pPr>
              <a:defRPr/>
            </a:lvl1pPr>
          </a:lstStyle>
          <a:p>
            <a:pPr>
              <a:defRPr/>
            </a:pPr>
            <a:r>
              <a:rPr lang="en-US"/>
              <a:t>Document title or footer</a:t>
            </a:r>
          </a:p>
        </p:txBody>
      </p:sp>
      <p:sp>
        <p:nvSpPr>
          <p:cNvPr id="13" name="Slide Number Placeholder 4">
            <a:extLst>
              <a:ext uri="{FF2B5EF4-FFF2-40B4-BE49-F238E27FC236}">
                <a16:creationId xmlns:a16="http://schemas.microsoft.com/office/drawing/2014/main" id="{A71333AD-7323-66FE-50B2-4E30D975116B}"/>
              </a:ext>
            </a:extLst>
          </p:cNvPr>
          <p:cNvSpPr>
            <a:spLocks noGrp="1"/>
          </p:cNvSpPr>
          <p:nvPr>
            <p:ph type="sldNum" sz="quarter" idx="12"/>
          </p:nvPr>
        </p:nvSpPr>
        <p:spPr/>
        <p:txBody>
          <a:bodyPr/>
          <a:lstStyle>
            <a:lvl1pPr>
              <a:defRPr/>
            </a:lvl1pPr>
          </a:lstStyle>
          <a:p>
            <a:pPr>
              <a:defRPr/>
            </a:pPr>
            <a:fld id="{4C131832-E3AC-4755-8116-0E07B5D24C09}" type="slidenum">
              <a:rPr lang="en-US"/>
              <a:pPr>
                <a:defRPr/>
              </a:pPr>
              <a:t>‹#›</a:t>
            </a:fld>
            <a:endParaRPr lang="en-US"/>
          </a:p>
        </p:txBody>
      </p:sp>
      <p:sp>
        <p:nvSpPr>
          <p:cNvPr id="14" name="Plassholder for bunntekst 1">
            <a:extLst>
              <a:ext uri="{FF2B5EF4-FFF2-40B4-BE49-F238E27FC236}">
                <a16:creationId xmlns:a16="http://schemas.microsoft.com/office/drawing/2014/main" id="{32776977-C8A3-286A-8711-F1E128108E73}"/>
              </a:ext>
            </a:extLst>
          </p:cNvPr>
          <p:cNvSpPr txBox="1">
            <a:spLocks/>
          </p:cNvSpPr>
          <p:nvPr userDrawn="1"/>
        </p:nvSpPr>
        <p:spPr>
          <a:xfrm>
            <a:off x="4038600" y="6345238"/>
            <a:ext cx="4114800" cy="365125"/>
          </a:xfrm>
          <a:prstGeom prst="rect">
            <a:avLst/>
          </a:prstGeom>
        </p:spPr>
        <p:txBody>
          <a:bodyPr vert="horz" wrap="square" lIns="91440" tIns="45720" rIns="91440" bIns="45720" rtlCol="0" anchor="ctr">
            <a:spAutoFit/>
          </a:bodyPr>
          <a:lstStyle>
            <a:defPPr>
              <a:defRPr lang="en-US"/>
            </a:defPPr>
            <a:lvl1pPr algn="ctr" rtl="0" eaLnBrk="1" fontAlgn="auto" hangingPunct="1">
              <a:spcBef>
                <a:spcPts val="0"/>
              </a:spcBef>
              <a:spcAft>
                <a:spcPts val="0"/>
              </a:spcAft>
              <a:defRPr sz="1200" kern="1200">
                <a:solidFill>
                  <a:srgbClr val="F2F2F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13422982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ew Hire">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F99AA044-EBA2-16D5-0287-7A2C84FEFBC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F99AA044-EBA2-16D5-0287-7A2C84FEFB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0D1B55FC-3570-2830-E8BB-68B5FA50C19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602324E3-4A5E-4B37-A1A4-21276290BEA9}"/>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EB4D2C3B-659F-13E2-8965-7096ABB8A0B3}"/>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E0EF8648-8E6C-CEDB-5D14-E2649CC3D6B8}"/>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061BD84C-2C01-25D5-398E-63B5A8942582}"/>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B50D6E07-39B9-8656-036D-FC2063D37D1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B50D6E07-39B9-8656-036D-FC2063D37D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6">
            <a:extLst>
              <a:ext uri="{FF2B5EF4-FFF2-40B4-BE49-F238E27FC236}">
                <a16:creationId xmlns:a16="http://schemas.microsoft.com/office/drawing/2014/main" id="{3FB8CD59-A354-38A3-44A9-C0393A8C5BC3}"/>
              </a:ext>
            </a:extLst>
          </p:cNvPr>
          <p:cNvSpPr txBox="1">
            <a:spLocks noChangeArrowheads="1"/>
          </p:cNvSpPr>
          <p:nvPr/>
        </p:nvSpPr>
        <p:spPr bwMode="auto">
          <a:xfrm>
            <a:off x="440055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t>Experience</a:t>
            </a:r>
          </a:p>
        </p:txBody>
      </p:sp>
      <p:sp>
        <p:nvSpPr>
          <p:cNvPr id="12" name="TextBox 17">
            <a:extLst>
              <a:ext uri="{FF2B5EF4-FFF2-40B4-BE49-F238E27FC236}">
                <a16:creationId xmlns:a16="http://schemas.microsoft.com/office/drawing/2014/main" id="{2E04DE28-3700-2862-4D80-1125F30A86F0}"/>
              </a:ext>
            </a:extLst>
          </p:cNvPr>
          <p:cNvSpPr txBox="1">
            <a:spLocks noChangeArrowheads="1"/>
          </p:cNvSpPr>
          <p:nvPr/>
        </p:nvSpPr>
        <p:spPr bwMode="auto">
          <a:xfrm>
            <a:off x="811530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t>Education</a:t>
            </a:r>
          </a:p>
        </p:txBody>
      </p:sp>
      <p:cxnSp>
        <p:nvCxnSpPr>
          <p:cNvPr id="13" name="Straight Connector 12">
            <a:extLst>
              <a:ext uri="{FF2B5EF4-FFF2-40B4-BE49-F238E27FC236}">
                <a16:creationId xmlns:a16="http://schemas.microsoft.com/office/drawing/2014/main" id="{869524AD-362D-0D8D-6A27-B9AB86B0468B}"/>
              </a:ext>
            </a:extLst>
          </p:cNvPr>
          <p:cNvCxnSpPr>
            <a:cxnSpLocks/>
          </p:cNvCxnSpPr>
          <p:nvPr/>
        </p:nvCxnSpPr>
        <p:spPr>
          <a:xfrm>
            <a:off x="7929563" y="2425700"/>
            <a:ext cx="0" cy="3246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p>
        </p:txBody>
      </p:sp>
      <p:sp>
        <p:nvSpPr>
          <p:cNvPr id="14" name="Text Placeholder 13"/>
          <p:cNvSpPr>
            <a:spLocks noGrp="1"/>
          </p:cNvSpPr>
          <p:nvPr>
            <p:ph type="body" sz="quarter" idx="13"/>
          </p:nvPr>
        </p:nvSpPr>
        <p:spPr>
          <a:xfrm>
            <a:off x="4399874" y="2425937"/>
            <a:ext cx="3343973" cy="338554"/>
          </a:xfrm>
        </p:spPr>
        <p:txBody>
          <a:bodyPr/>
          <a:lstStyle>
            <a:lvl1pPr>
              <a:defRPr/>
            </a:lvl1pPr>
          </a:lstStyle>
          <a:p>
            <a:pPr lvl="0"/>
            <a:r>
              <a:rPr lang="en-US"/>
              <a:t>Click to edit Master text styles</a:t>
            </a:r>
          </a:p>
        </p:txBody>
      </p:sp>
      <p:sp>
        <p:nvSpPr>
          <p:cNvPr id="22" name="Text Placeholder 13"/>
          <p:cNvSpPr>
            <a:spLocks noGrp="1"/>
          </p:cNvSpPr>
          <p:nvPr>
            <p:ph type="body" sz="quarter" idx="14"/>
          </p:nvPr>
        </p:nvSpPr>
        <p:spPr>
          <a:xfrm>
            <a:off x="8115326" y="2425937"/>
            <a:ext cx="3159132" cy="338554"/>
          </a:xfrm>
        </p:spPr>
        <p:txBody>
          <a:bodyPr/>
          <a:lstStyle>
            <a:lvl1pPr>
              <a:defRPr/>
            </a:lvl1pPr>
          </a:lstStyle>
          <a:p>
            <a:pPr lvl="0"/>
            <a:r>
              <a:rPr lang="en-US"/>
              <a:t>Click to edit Master text styles</a:t>
            </a:r>
          </a:p>
        </p:txBody>
      </p:sp>
      <p:sp>
        <p:nvSpPr>
          <p:cNvPr id="24" name="Text Placeholder 23"/>
          <p:cNvSpPr>
            <a:spLocks noGrp="1"/>
          </p:cNvSpPr>
          <p:nvPr>
            <p:ph type="body" sz="quarter" idx="15"/>
          </p:nvPr>
        </p:nvSpPr>
        <p:spPr>
          <a:xfrm>
            <a:off x="600075" y="1998098"/>
            <a:ext cx="3341688" cy="338554"/>
          </a:xfrm>
        </p:spPr>
        <p:txBody>
          <a:bodyPr/>
          <a:lstStyle>
            <a:lvl1pPr marL="0" indent="0">
              <a:buNone/>
              <a:defRPr b="1"/>
            </a:lvl1pPr>
          </a:lstStyle>
          <a:p>
            <a:pPr lvl="0"/>
            <a:r>
              <a:rPr lang="en-US"/>
              <a:t>Click to edit Master text styles</a:t>
            </a:r>
          </a:p>
        </p:txBody>
      </p:sp>
      <p:sp>
        <p:nvSpPr>
          <p:cNvPr id="26" name="Picture Placeholder 25"/>
          <p:cNvSpPr>
            <a:spLocks noGrp="1"/>
          </p:cNvSpPr>
          <p:nvPr>
            <p:ph type="pic" sz="quarter" idx="16"/>
          </p:nvPr>
        </p:nvSpPr>
        <p:spPr>
          <a:xfrm>
            <a:off x="695325" y="2425937"/>
            <a:ext cx="3246438" cy="3246539"/>
          </a:xfrm>
        </p:spPr>
        <p:txBody>
          <a:bodyPr rtlCol="0" anchor="ctr"/>
          <a:lstStyle>
            <a:lvl1pPr marL="0" indent="0" algn="ctr">
              <a:buNone/>
              <a:defRPr sz="1000"/>
            </a:lvl1pPr>
          </a:lstStyle>
          <a:p>
            <a:pPr lvl="0"/>
            <a:r>
              <a:rPr lang="en-US" noProof="0"/>
              <a:t>Click icon to add picture</a:t>
            </a:r>
          </a:p>
        </p:txBody>
      </p:sp>
      <p:sp>
        <p:nvSpPr>
          <p:cNvPr id="15" name="Date Placeholder 2">
            <a:extLst>
              <a:ext uri="{FF2B5EF4-FFF2-40B4-BE49-F238E27FC236}">
                <a16:creationId xmlns:a16="http://schemas.microsoft.com/office/drawing/2014/main" id="{D4BF5B1F-BC97-7EF2-DA38-9DDE862C56EE}"/>
              </a:ext>
            </a:extLst>
          </p:cNvPr>
          <p:cNvSpPr>
            <a:spLocks noGrp="1"/>
          </p:cNvSpPr>
          <p:nvPr>
            <p:ph type="dt" sz="half" idx="17"/>
          </p:nvPr>
        </p:nvSpPr>
        <p:spPr/>
        <p:txBody>
          <a:bodyPr/>
          <a:lstStyle>
            <a:lvl1pPr>
              <a:defRPr/>
            </a:lvl1pPr>
          </a:lstStyle>
          <a:p>
            <a:pPr>
              <a:defRPr/>
            </a:pPr>
            <a:fld id="{23DF44C7-4A26-402A-A054-112BECE2CE09}" type="datetime1">
              <a:rPr lang="en-US"/>
              <a:pPr>
                <a:defRPr/>
              </a:pPr>
              <a:t>1/18/26</a:t>
            </a:fld>
            <a:endParaRPr lang="en-US"/>
          </a:p>
        </p:txBody>
      </p:sp>
      <p:sp>
        <p:nvSpPr>
          <p:cNvPr id="16" name="Footer Placeholder 3">
            <a:extLst>
              <a:ext uri="{FF2B5EF4-FFF2-40B4-BE49-F238E27FC236}">
                <a16:creationId xmlns:a16="http://schemas.microsoft.com/office/drawing/2014/main" id="{59B4F0C8-568F-29DC-7EB2-392407036583}"/>
              </a:ext>
            </a:extLst>
          </p:cNvPr>
          <p:cNvSpPr>
            <a:spLocks noGrp="1"/>
          </p:cNvSpPr>
          <p:nvPr>
            <p:ph type="ftr" sz="quarter" idx="18"/>
          </p:nvPr>
        </p:nvSpPr>
        <p:spPr/>
        <p:txBody>
          <a:bodyPr/>
          <a:lstStyle>
            <a:lvl1pPr>
              <a:defRPr/>
            </a:lvl1pPr>
          </a:lstStyle>
          <a:p>
            <a:pPr>
              <a:defRPr/>
            </a:pPr>
            <a:r>
              <a:rPr lang="en-US"/>
              <a:t>Document title or footer</a:t>
            </a:r>
          </a:p>
        </p:txBody>
      </p:sp>
      <p:sp>
        <p:nvSpPr>
          <p:cNvPr id="17" name="Slide Number Placeholder 4">
            <a:extLst>
              <a:ext uri="{FF2B5EF4-FFF2-40B4-BE49-F238E27FC236}">
                <a16:creationId xmlns:a16="http://schemas.microsoft.com/office/drawing/2014/main" id="{D842AC58-324B-7CA6-C3A3-CB9335064D1B}"/>
              </a:ext>
            </a:extLst>
          </p:cNvPr>
          <p:cNvSpPr>
            <a:spLocks noGrp="1"/>
          </p:cNvSpPr>
          <p:nvPr>
            <p:ph type="sldNum" sz="quarter" idx="19"/>
          </p:nvPr>
        </p:nvSpPr>
        <p:spPr/>
        <p:txBody>
          <a:bodyPr/>
          <a:lstStyle>
            <a:lvl1pPr>
              <a:defRPr/>
            </a:lvl1pPr>
          </a:lstStyle>
          <a:p>
            <a:pPr>
              <a:defRPr/>
            </a:pPr>
            <a:fld id="{2702BA40-8150-477D-8334-2F97305B3B0A}" type="slidenum">
              <a:rPr lang="en-US"/>
              <a:pPr>
                <a:defRPr/>
              </a:pPr>
              <a:t>‹#›</a:t>
            </a:fld>
            <a:endParaRPr lang="en-US"/>
          </a:p>
        </p:txBody>
      </p:sp>
      <p:sp>
        <p:nvSpPr>
          <p:cNvPr id="18" name="Plassholder for bunntekst 1">
            <a:extLst>
              <a:ext uri="{FF2B5EF4-FFF2-40B4-BE49-F238E27FC236}">
                <a16:creationId xmlns:a16="http://schemas.microsoft.com/office/drawing/2014/main" id="{AC7A7E7D-A866-3500-A8A4-FACDA1B64A30}"/>
              </a:ext>
            </a:extLst>
          </p:cNvPr>
          <p:cNvSpPr txBox="1">
            <a:spLocks/>
          </p:cNvSpPr>
          <p:nvPr userDrawn="1"/>
        </p:nvSpPr>
        <p:spPr>
          <a:xfrm>
            <a:off x="4038600" y="6345238"/>
            <a:ext cx="4114800" cy="365125"/>
          </a:xfrm>
          <a:prstGeom prst="rect">
            <a:avLst/>
          </a:prstGeom>
        </p:spPr>
        <p:txBody>
          <a:bodyPr vert="horz" wrap="square" lIns="91440" tIns="45720" rIns="91440" bIns="45720" rtlCol="0" anchor="ctr">
            <a:spAutoFit/>
          </a:bodyPr>
          <a:lstStyle>
            <a:defPPr>
              <a:defRPr lang="en-US"/>
            </a:defPPr>
            <a:lvl1pPr algn="ctr" rtl="0" eaLnBrk="1" fontAlgn="auto" hangingPunct="1">
              <a:spcBef>
                <a:spcPts val="0"/>
              </a:spcBef>
              <a:spcAft>
                <a:spcPts val="0"/>
              </a:spcAft>
              <a:defRPr sz="1200" kern="1200">
                <a:solidFill>
                  <a:srgbClr val="F2F2F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25480986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5" hidden="1">
            <a:extLst>
              <a:ext uri="{FF2B5EF4-FFF2-40B4-BE49-F238E27FC236}">
                <a16:creationId xmlns:a16="http://schemas.microsoft.com/office/drawing/2014/main" id="{8E058659-D4E5-BC85-EB2B-8E819F9CDD0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5" hidden="1">
                        <a:extLst>
                          <a:ext uri="{FF2B5EF4-FFF2-40B4-BE49-F238E27FC236}">
                            <a16:creationId xmlns:a16="http://schemas.microsoft.com/office/drawing/2014/main" id="{8E058659-D4E5-BC85-EB2B-8E819F9CDD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5">
            <a:extLst>
              <a:ext uri="{FF2B5EF4-FFF2-40B4-BE49-F238E27FC236}">
                <a16:creationId xmlns:a16="http://schemas.microsoft.com/office/drawing/2014/main" id="{278F48F8-FB54-9837-00DD-045178746204}"/>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CCA7391F-45A2-EC24-D375-D5774F975096}"/>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7">
            <a:extLst>
              <a:ext uri="{FF2B5EF4-FFF2-40B4-BE49-F238E27FC236}">
                <a16:creationId xmlns:a16="http://schemas.microsoft.com/office/drawing/2014/main" id="{9426C6A6-3B1A-1EAA-16BF-5C4345F8138E}"/>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B845EB5B-C275-B475-0C45-A1B45F909310}"/>
              </a:ext>
            </a:extLst>
          </p:cNvPr>
          <p:cNvSpPr>
            <a:spLocks/>
          </p:cNvSpPr>
          <p:nvPr/>
        </p:nvSpPr>
        <p:spPr bwMode="auto">
          <a:xfrm>
            <a:off x="679450" y="698500"/>
            <a:ext cx="1800225" cy="681038"/>
          </a:xfrm>
          <a:custGeom>
            <a:avLst/>
            <a:gdLst>
              <a:gd name="T0" fmla="*/ 0 w 634365"/>
              <a:gd name="T1" fmla="*/ 669533 h 240029"/>
              <a:gd name="T2" fmla="*/ 137164 w 634365"/>
              <a:gd name="T3" fmla="*/ 0 h 240029"/>
              <a:gd name="T4" fmla="*/ 294568 w 634365"/>
              <a:gd name="T5" fmla="*/ 669533 h 240029"/>
              <a:gd name="T6" fmla="*/ 269833 w 634365"/>
              <a:gd name="T7" fmla="*/ 437338 h 240029"/>
              <a:gd name="T8" fmla="*/ 294568 w 634365"/>
              <a:gd name="T9" fmla="*/ 205141 h 240029"/>
              <a:gd name="T10" fmla="*/ 294568 w 634365"/>
              <a:gd name="T11" fmla="*/ 669533 h 240029"/>
              <a:gd name="T12" fmla="*/ 1209753 w 634365"/>
              <a:gd name="T13" fmla="*/ 669533 h 240029"/>
              <a:gd name="T14" fmla="*/ 1346920 w 634365"/>
              <a:gd name="T15" fmla="*/ 0 h 240029"/>
              <a:gd name="T16" fmla="*/ 1639240 w 634365"/>
              <a:gd name="T17" fmla="*/ 669533 h 240029"/>
              <a:gd name="T18" fmla="*/ 1346920 w 634365"/>
              <a:gd name="T19" fmla="*/ 437338 h 240029"/>
              <a:gd name="T20" fmla="*/ 1639240 w 634365"/>
              <a:gd name="T21" fmla="*/ 205141 h 240029"/>
              <a:gd name="T22" fmla="*/ 1639240 w 634365"/>
              <a:gd name="T23" fmla="*/ 669533 h 240029"/>
              <a:gd name="T24" fmla="*/ 549048 w 634365"/>
              <a:gd name="T25" fmla="*/ 667913 h 240029"/>
              <a:gd name="T26" fmla="*/ 479271 w 634365"/>
              <a:gd name="T27" fmla="*/ 568581 h 240029"/>
              <a:gd name="T28" fmla="*/ 472208 w 634365"/>
              <a:gd name="T29" fmla="*/ 205141 h 240029"/>
              <a:gd name="T30" fmla="*/ 604925 w 634365"/>
              <a:gd name="T31" fmla="*/ 450864 h 240029"/>
              <a:gd name="T32" fmla="*/ 613027 w 634365"/>
              <a:gd name="T33" fmla="*/ 534837 h 240029"/>
              <a:gd name="T34" fmla="*/ 670087 w 634365"/>
              <a:gd name="T35" fmla="*/ 570343 h 240029"/>
              <a:gd name="T36" fmla="*/ 879208 w 634365"/>
              <a:gd name="T37" fmla="*/ 604158 h 240029"/>
              <a:gd name="T38" fmla="*/ 724650 w 634365"/>
              <a:gd name="T39" fmla="*/ 636106 h 240029"/>
              <a:gd name="T40" fmla="*/ 664009 w 634365"/>
              <a:gd name="T41" fmla="*/ 675485 h 240029"/>
              <a:gd name="T42" fmla="*/ 879208 w 634365"/>
              <a:gd name="T43" fmla="*/ 570343 h 240029"/>
              <a:gd name="T44" fmla="*/ 705748 w 634365"/>
              <a:gd name="T45" fmla="*/ 563721 h 240029"/>
              <a:gd name="T46" fmla="*/ 742498 w 634365"/>
              <a:gd name="T47" fmla="*/ 505672 h 240029"/>
              <a:gd name="T48" fmla="*/ 746539 w 634365"/>
              <a:gd name="T49" fmla="*/ 205141 h 240029"/>
              <a:gd name="T50" fmla="*/ 879208 w 634365"/>
              <a:gd name="T51" fmla="*/ 570343 h 240029"/>
              <a:gd name="T52" fmla="*/ 746539 w 634365"/>
              <a:gd name="T53" fmla="*/ 669533 h 240029"/>
              <a:gd name="T54" fmla="*/ 879208 w 634365"/>
              <a:gd name="T55" fmla="*/ 604158 h 240029"/>
              <a:gd name="T56" fmla="*/ 1149041 w 634365"/>
              <a:gd name="T57" fmla="*/ 669533 h 240029"/>
              <a:gd name="T58" fmla="*/ 1040195 w 634365"/>
              <a:gd name="T59" fmla="*/ 664321 h 240029"/>
              <a:gd name="T60" fmla="*/ 970067 w 634365"/>
              <a:gd name="T61" fmla="*/ 604862 h 240029"/>
              <a:gd name="T62" fmla="*/ 962407 w 634365"/>
              <a:gd name="T63" fmla="*/ 0 h 240029"/>
              <a:gd name="T64" fmla="*/ 1099571 w 634365"/>
              <a:gd name="T65" fmla="*/ 504968 h 240029"/>
              <a:gd name="T66" fmla="*/ 1100028 w 634365"/>
              <a:gd name="T67" fmla="*/ 530186 h 240029"/>
              <a:gd name="T68" fmla="*/ 1124834 w 634365"/>
              <a:gd name="T69" fmla="*/ 554423 h 240029"/>
              <a:gd name="T70" fmla="*/ 1149041 w 634365"/>
              <a:gd name="T71" fmla="*/ 669533 h 240029"/>
              <a:gd name="T72" fmla="*/ 1706698 w 634365"/>
              <a:gd name="T73" fmla="*/ 214161 h 240029"/>
              <a:gd name="T74" fmla="*/ 1742676 w 634365"/>
              <a:gd name="T75" fmla="*/ 205141 h 240029"/>
              <a:gd name="T76" fmla="*/ 1729185 w 634365"/>
              <a:gd name="T77" fmla="*/ 247973 h 240029"/>
              <a:gd name="T78" fmla="*/ 1720189 w 634365"/>
              <a:gd name="T79" fmla="*/ 214161 h 240029"/>
              <a:gd name="T80" fmla="*/ 1729185 w 634365"/>
              <a:gd name="T81" fmla="*/ 247973 h 240029"/>
              <a:gd name="T82" fmla="*/ 1749422 w 634365"/>
              <a:gd name="T83" fmla="*/ 247973 h 240029"/>
              <a:gd name="T84" fmla="*/ 1765164 w 634365"/>
              <a:gd name="T85" fmla="*/ 205141 h 240029"/>
              <a:gd name="T86" fmla="*/ 1760666 w 634365"/>
              <a:gd name="T87" fmla="*/ 218669 h 240029"/>
              <a:gd name="T88" fmla="*/ 1782806 w 634365"/>
              <a:gd name="T89" fmla="*/ 234447 h 240029"/>
              <a:gd name="T90" fmla="*/ 1783153 w 634365"/>
              <a:gd name="T91" fmla="*/ 205141 h 240029"/>
              <a:gd name="T92" fmla="*/ 1798891 w 634365"/>
              <a:gd name="T93" fmla="*/ 218669 h 240029"/>
              <a:gd name="T94" fmla="*/ 1782806 w 634365"/>
              <a:gd name="T95" fmla="*/ 234447 h 240029"/>
              <a:gd name="T96" fmla="*/ 1769659 w 634365"/>
              <a:gd name="T97" fmla="*/ 247973 h 240029"/>
              <a:gd name="T98" fmla="*/ 1769312 w 634365"/>
              <a:gd name="T99" fmla="*/ 218669 h 240029"/>
              <a:gd name="T100" fmla="*/ 1782806 w 634365"/>
              <a:gd name="T101" fmla="*/ 234447 h 240029"/>
              <a:gd name="T102" fmla="*/ 1798891 w 634365"/>
              <a:gd name="T103" fmla="*/ 247973 h 240029"/>
              <a:gd name="T104" fmla="*/ 1787648 w 634365"/>
              <a:gd name="T105" fmla="*/ 218669 h 240029"/>
              <a:gd name="T106" fmla="*/ 1798891 w 634365"/>
              <a:gd name="T107" fmla="*/ 247973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 name="Subtitle 2"/>
          <p:cNvSpPr>
            <a:spLocks noGrp="1"/>
          </p:cNvSpPr>
          <p:nvPr>
            <p:ph type="subTitle" idx="1"/>
          </p:nvPr>
        </p:nvSpPr>
        <p:spPr>
          <a:xfrm>
            <a:off x="596348" y="3414411"/>
            <a:ext cx="9144000" cy="40011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72914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632A6FEC-4182-ACA0-F7F6-8F779B99DE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632A6FEC-4182-ACA0-F7F6-8F779B99DE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2">
            <a:extLst>
              <a:ext uri="{FF2B5EF4-FFF2-40B4-BE49-F238E27FC236}">
                <a16:creationId xmlns:a16="http://schemas.microsoft.com/office/drawing/2014/main" id="{6FE41067-2A47-2418-F9FA-BD87443F2637}"/>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4">
            <a:extLst>
              <a:ext uri="{FF2B5EF4-FFF2-40B4-BE49-F238E27FC236}">
                <a16:creationId xmlns:a16="http://schemas.microsoft.com/office/drawing/2014/main" id="{072410B2-84FA-DD4F-1E4A-A1155D23AFA6}"/>
              </a:ext>
            </a:extLst>
          </p:cNvPr>
          <p:cNvSpPr>
            <a:spLocks/>
          </p:cNvSpPr>
          <p:nvPr userDrawn="1"/>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F6282E0F-359A-9B17-0752-7706320D85A4}"/>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9" name="object 2">
            <a:extLst>
              <a:ext uri="{FF2B5EF4-FFF2-40B4-BE49-F238E27FC236}">
                <a16:creationId xmlns:a16="http://schemas.microsoft.com/office/drawing/2014/main" id="{886C9271-50AE-426C-FC97-DF444BF7FC87}"/>
              </a:ext>
            </a:extLst>
          </p:cNvPr>
          <p:cNvGrpSpPr>
            <a:grpSpLocks/>
          </p:cNvGrpSpPr>
          <p:nvPr/>
        </p:nvGrpSpPr>
        <p:grpSpPr bwMode="auto">
          <a:xfrm>
            <a:off x="11002963" y="-4763"/>
            <a:ext cx="1163637" cy="1343026"/>
            <a:chOff x="11002424" y="0"/>
            <a:chExt cx="1163955" cy="1342390"/>
          </a:xfrm>
        </p:grpSpPr>
        <p:sp>
          <p:nvSpPr>
            <p:cNvPr id="10" name="object 3">
              <a:extLst>
                <a:ext uri="{FF2B5EF4-FFF2-40B4-BE49-F238E27FC236}">
                  <a16:creationId xmlns:a16="http://schemas.microsoft.com/office/drawing/2014/main" id="{68527441-CDCB-1179-7D4D-23AF46F48D46}"/>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1" name="object 4">
              <a:extLst>
                <a:ext uri="{FF2B5EF4-FFF2-40B4-BE49-F238E27FC236}">
                  <a16:creationId xmlns:a16="http://schemas.microsoft.com/office/drawing/2014/main" id="{C10F9798-C6BA-7B2D-3C44-4E7636A38F45}"/>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2" name="Object 16" hidden="1">
            <a:extLst>
              <a:ext uri="{FF2B5EF4-FFF2-40B4-BE49-F238E27FC236}">
                <a16:creationId xmlns:a16="http://schemas.microsoft.com/office/drawing/2014/main" id="{6DF02752-EBC5-A17B-5CCF-451D5F6C492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2" name="Object 16" hidden="1">
                        <a:extLst>
                          <a:ext uri="{FF2B5EF4-FFF2-40B4-BE49-F238E27FC236}">
                            <a16:creationId xmlns:a16="http://schemas.microsoft.com/office/drawing/2014/main" id="{6DF02752-EBC5-A17B-5CCF-451D5F6C49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lassholder for dato 13">
            <a:extLst>
              <a:ext uri="{FF2B5EF4-FFF2-40B4-BE49-F238E27FC236}">
                <a16:creationId xmlns:a16="http://schemas.microsoft.com/office/drawing/2014/main" id="{0489FC01-C7A6-2106-7F53-DCC7E3F6F36A}"/>
              </a:ext>
            </a:extLst>
          </p:cNvPr>
          <p:cNvSpPr>
            <a:spLocks noGrp="1"/>
          </p:cNvSpPr>
          <p:nvPr>
            <p:ph type="dt" sz="half" idx="10"/>
          </p:nvPr>
        </p:nvSpPr>
        <p:spPr/>
        <p:txBody>
          <a:bodyPr/>
          <a:lstStyle/>
          <a:p>
            <a:pPr>
              <a:defRPr/>
            </a:pPr>
            <a:fld id="{20BBB2E2-CC26-4239-A610-53654AB87668}" type="datetime1">
              <a:rPr lang="en-US" smtClean="0"/>
              <a:pPr>
                <a:defRPr/>
              </a:pPr>
              <a:t>1/18/26</a:t>
            </a:fld>
            <a:endParaRPr lang="en-US"/>
          </a:p>
        </p:txBody>
      </p:sp>
      <p:sp>
        <p:nvSpPr>
          <p:cNvPr id="16" name="Plassholder for bunntekst 15">
            <a:extLst>
              <a:ext uri="{FF2B5EF4-FFF2-40B4-BE49-F238E27FC236}">
                <a16:creationId xmlns:a16="http://schemas.microsoft.com/office/drawing/2014/main" id="{1523B099-811E-25D7-BE02-D156DE97B07B}"/>
              </a:ext>
            </a:extLst>
          </p:cNvPr>
          <p:cNvSpPr>
            <a:spLocks noGrp="1"/>
          </p:cNvSpPr>
          <p:nvPr>
            <p:ph type="ftr" sz="quarter" idx="11"/>
          </p:nvPr>
        </p:nvSpPr>
        <p:spPr/>
        <p:txBody>
          <a:bodyPr/>
          <a:lstStyle/>
          <a:p>
            <a:r>
              <a:rPr lang="nb-NO"/>
              <a:t>Public</a:t>
            </a:r>
            <a:endParaRPr lang="en-GB"/>
          </a:p>
        </p:txBody>
      </p:sp>
      <p:sp>
        <p:nvSpPr>
          <p:cNvPr id="17" name="Plassholder for lysbildenummer 16">
            <a:extLst>
              <a:ext uri="{FF2B5EF4-FFF2-40B4-BE49-F238E27FC236}">
                <a16:creationId xmlns:a16="http://schemas.microsoft.com/office/drawing/2014/main" id="{F4CF7036-67BB-F235-182F-5CD655FA9522}"/>
              </a:ext>
            </a:extLst>
          </p:cNvPr>
          <p:cNvSpPr>
            <a:spLocks noGrp="1"/>
          </p:cNvSpPr>
          <p:nvPr>
            <p:ph type="sldNum" sz="quarter" idx="12"/>
          </p:nvPr>
        </p:nvSpPr>
        <p:spPr/>
        <p:txBody>
          <a:bodyPr/>
          <a:lstStyle/>
          <a:p>
            <a:pPr>
              <a:defRPr/>
            </a:pPr>
            <a:fld id="{DEBAC383-E36A-489F-ADF8-C4D7B9AD7F0A}" type="slidenum">
              <a:rPr lang="en-US" smtClean="0"/>
              <a:pPr>
                <a:defRPr/>
              </a:pPr>
              <a:t>‹#›</a:t>
            </a:fld>
            <a:endParaRPr lang="en-US"/>
          </a:p>
        </p:txBody>
      </p:sp>
    </p:spTree>
    <p:extLst>
      <p:ext uri="{BB962C8B-B14F-4D97-AF65-F5344CB8AC3E}">
        <p14:creationId xmlns:p14="http://schemas.microsoft.com/office/powerpoint/2010/main" val="368086656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0A1CF85-B567-32E9-BBB2-4A97A1B1307C}"/>
              </a:ext>
            </a:extLst>
          </p:cNvPr>
          <p:cNvGraphicFramePr>
            <a:graphicFrameLocks noChangeAspect="1"/>
          </p:cNvGraphicFramePr>
          <p:nvPr userDrawn="1">
            <p:custDataLst>
              <p:tags r:id="rId1"/>
            </p:custDataLst>
            <p:extLst>
              <p:ext uri="{D42A27DB-BD31-4B8C-83A1-F6EECF244321}">
                <p14:modId xmlns:p14="http://schemas.microsoft.com/office/powerpoint/2010/main" val="837348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ct 6" hidden="1">
                        <a:extLst>
                          <a:ext uri="{FF2B5EF4-FFF2-40B4-BE49-F238E27FC236}">
                            <a16:creationId xmlns:a16="http://schemas.microsoft.com/office/drawing/2014/main" id="{C0A1CF85-B567-32E9-BBB2-4A97A1B130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355E2E-3270-5C79-B219-BFF0DC351922}"/>
              </a:ext>
            </a:extLst>
          </p:cNvPr>
          <p:cNvSpPr>
            <a:spLocks noGrp="1"/>
          </p:cNvSpPr>
          <p:nvPr>
            <p:ph type="title"/>
          </p:nvPr>
        </p:nvSpPr>
        <p:spPr/>
        <p:txBody>
          <a:bodyPr vert="horz"/>
          <a:lstStyle>
            <a:lvl1pPr rtl="0">
              <a:defRPr/>
            </a:lvl1pPr>
          </a:lstStyle>
          <a:p>
            <a:r>
              <a:rPr lang="en-GB"/>
              <a:t>Click to edit Master title style</a:t>
            </a:r>
          </a:p>
        </p:txBody>
      </p:sp>
      <p:sp>
        <p:nvSpPr>
          <p:cNvPr id="5" name="Slide Number Placeholder 4">
            <a:extLst>
              <a:ext uri="{FF2B5EF4-FFF2-40B4-BE49-F238E27FC236}">
                <a16:creationId xmlns:a16="http://schemas.microsoft.com/office/drawing/2014/main" id="{7456E2C4-2908-2D9E-5FA9-984AC89E3323}"/>
              </a:ext>
            </a:extLst>
          </p:cNvPr>
          <p:cNvSpPr>
            <a:spLocks noGrp="1"/>
          </p:cNvSpPr>
          <p:nvPr>
            <p:ph type="sldNum" sz="quarter" idx="12"/>
          </p:nvPr>
        </p:nvSpPr>
        <p:spPr/>
        <p:txBody>
          <a:bodyPr/>
          <a:lstStyle>
            <a:lvl1pPr rtl="0">
              <a:defRPr/>
            </a:lvl1pPr>
          </a:lstStyle>
          <a:p>
            <a:fld id="{50A6C693-FA55-4929-8F02-9C5C1D56A297}" type="slidenum">
              <a:rPr lang="en-GB" smtClean="0"/>
              <a:pPr/>
              <a:t>‹#›</a:t>
            </a:fld>
            <a:endParaRPr lang="en-GB"/>
          </a:p>
        </p:txBody>
      </p:sp>
      <p:sp>
        <p:nvSpPr>
          <p:cNvPr id="13" name="Content Placeholder 12">
            <a:extLst>
              <a:ext uri="{FF2B5EF4-FFF2-40B4-BE49-F238E27FC236}">
                <a16:creationId xmlns:a16="http://schemas.microsoft.com/office/drawing/2014/main" id="{7C28364F-2110-7421-7D0F-93FF9083F397}"/>
              </a:ext>
            </a:extLst>
          </p:cNvPr>
          <p:cNvSpPr>
            <a:spLocks noGrp="1"/>
          </p:cNvSpPr>
          <p:nvPr>
            <p:ph sz="quarter" idx="16"/>
          </p:nvPr>
        </p:nvSpPr>
        <p:spPr>
          <a:xfrm>
            <a:off x="695325" y="1738400"/>
            <a:ext cx="10801349" cy="4390938"/>
          </a:xfrm>
        </p:spPr>
        <p:txBody>
          <a:bodyPr>
            <a:noAutofit/>
          </a:bodyPr>
          <a:lstStyle>
            <a:lvl1pPr rtl="0">
              <a:defRPr sz="900"/>
            </a:lvl1pPr>
            <a:lvl2pPr rtl="0">
              <a:defRPr sz="900"/>
            </a:lvl2pPr>
            <a:lvl3pPr rtl="0">
              <a:defRPr sz="900"/>
            </a:lvl3pPr>
            <a:lvl4pPr rtl="0">
              <a:defRPr sz="900"/>
            </a:lvl4pPr>
            <a:lvl5pPr rtl="0">
              <a:defRPr sz="9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8">
            <a:extLst>
              <a:ext uri="{FF2B5EF4-FFF2-40B4-BE49-F238E27FC236}">
                <a16:creationId xmlns:a16="http://schemas.microsoft.com/office/drawing/2014/main" id="{19E3540C-D87C-325D-AF8C-A0B803EF958D}"/>
              </a:ext>
            </a:extLst>
          </p:cNvPr>
          <p:cNvSpPr>
            <a:spLocks noGrp="1"/>
          </p:cNvSpPr>
          <p:nvPr>
            <p:ph type="body" sz="quarter" idx="14" hasCustomPrompt="1"/>
          </p:nvPr>
        </p:nvSpPr>
        <p:spPr>
          <a:xfrm flipH="1">
            <a:off x="695325" y="1467195"/>
            <a:ext cx="10801349" cy="261610"/>
          </a:xfrm>
          <a:solidFill>
            <a:srgbClr val="00A89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spAutoFit/>
          </a:bodyPr>
          <a:lstStyle>
            <a:lvl1pPr>
              <a:defRPr lang="en-GB" sz="1100" b="1">
                <a:solidFill>
                  <a:schemeClr val="bg1"/>
                </a:solidFill>
              </a:defRPr>
            </a:lvl1pPr>
          </a:lstStyle>
          <a:p>
            <a:pPr marL="0" lvl="0" indent="0" algn="ctr">
              <a:buFont typeface="Arial" panose="020B0604020202020204" pitchFamily="34" charset="0"/>
              <a:buNone/>
            </a:pPr>
            <a:r>
              <a:rPr lang="en-GB"/>
              <a:t>Click to add sub-heading</a:t>
            </a:r>
          </a:p>
        </p:txBody>
      </p:sp>
      <p:sp>
        <p:nvSpPr>
          <p:cNvPr id="8" name="Footer Placeholder 4">
            <a:extLst>
              <a:ext uri="{FF2B5EF4-FFF2-40B4-BE49-F238E27FC236}">
                <a16:creationId xmlns:a16="http://schemas.microsoft.com/office/drawing/2014/main" id="{B66165EB-1B37-5AC0-FDDD-5ED1A84C4E34}"/>
              </a:ext>
            </a:extLst>
          </p:cNvPr>
          <p:cNvSpPr>
            <a:spLocks noGrp="1"/>
          </p:cNvSpPr>
          <p:nvPr>
            <p:ph type="ftr" sz="quarter" idx="3"/>
          </p:nvPr>
        </p:nvSpPr>
        <p:spPr>
          <a:xfrm>
            <a:off x="1530626" y="6550457"/>
            <a:ext cx="9820545" cy="215444"/>
          </a:xfrm>
          <a:prstGeom prst="rect">
            <a:avLst/>
          </a:prstGeom>
        </p:spPr>
        <p:txBody>
          <a:bodyPr vert="horz" wrap="square" lIns="91440" tIns="45720" rIns="91440" bIns="45720" rtlCol="0" anchor="ctr">
            <a:spAutoFit/>
          </a:bodyPr>
          <a:lstStyle>
            <a:lvl1pPr algn="ctr">
              <a:defRPr sz="800">
                <a:solidFill>
                  <a:schemeClr val="bg1"/>
                </a:solidFill>
              </a:defRPr>
            </a:lvl1pPr>
          </a:lstStyle>
          <a:p>
            <a:pPr algn="l"/>
            <a:endParaRPr lang="en-US"/>
          </a:p>
        </p:txBody>
      </p:sp>
    </p:spTree>
    <p:extLst>
      <p:ext uri="{BB962C8B-B14F-4D97-AF65-F5344CB8AC3E}">
        <p14:creationId xmlns:p14="http://schemas.microsoft.com/office/powerpoint/2010/main" val="3464237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D8DE5E1-945C-BB68-DBE7-1FAFAE8EF1A8}"/>
              </a:ext>
            </a:extLst>
          </p:cNvPr>
          <p:cNvGraphicFramePr>
            <a:graphicFrameLocks noChangeAspect="1"/>
          </p:cNvGraphicFramePr>
          <p:nvPr userDrawn="1">
            <p:custDataLst>
              <p:tags r:id="rId1"/>
            </p:custDataLst>
            <p:extLst>
              <p:ext uri="{D42A27DB-BD31-4B8C-83A1-F6EECF244321}">
                <p14:modId xmlns:p14="http://schemas.microsoft.com/office/powerpoint/2010/main" val="756639488"/>
              </p:ext>
            </p:ext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D8DE5E1-945C-BB68-DBE7-1FAFAE8EF1A8}"/>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B90B21-2699-43D2-9642-D479EC2B1D75}"/>
              </a:ext>
            </a:extLst>
          </p:cNvPr>
          <p:cNvSpPr/>
          <p:nvPr userDrawn="1"/>
        </p:nvSpPr>
        <p:spPr>
          <a:xfrm>
            <a:off x="0" y="6186000"/>
            <a:ext cx="12192000" cy="67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GB" sz="3200"/>
          </a:p>
        </p:txBody>
      </p:sp>
      <p:sp>
        <p:nvSpPr>
          <p:cNvPr id="2" name="Title 1"/>
          <p:cNvSpPr>
            <a:spLocks noGrp="1"/>
          </p:cNvSpPr>
          <p:nvPr>
            <p:ph type="title"/>
          </p:nvPr>
        </p:nvSpPr>
        <p:spPr>
          <a:xfrm>
            <a:off x="782400" y="419724"/>
            <a:ext cx="10800000" cy="997915"/>
          </a:xfrm>
          <a:prstGeom prst="rect">
            <a:avLst/>
          </a:prstGeom>
        </p:spPr>
        <p:txBody>
          <a:bodyPr vert="horz" anchor="t" anchorCtr="0">
            <a:noAutofit/>
          </a:bodyPr>
          <a:lstStyle>
            <a:lvl1pPr algn="l" rtl="0">
              <a:defRPr sz="3000"/>
            </a:lvl1pPr>
          </a:lstStyle>
          <a:p>
            <a:r>
              <a:rPr lang="en-GB"/>
              <a:t>Click to edit Master title style</a:t>
            </a:r>
          </a:p>
        </p:txBody>
      </p:sp>
      <p:sp>
        <p:nvSpPr>
          <p:cNvPr id="3" name="Content Placeholder 2"/>
          <p:cNvSpPr>
            <a:spLocks noGrp="1"/>
          </p:cNvSpPr>
          <p:nvPr>
            <p:ph idx="1"/>
          </p:nvPr>
        </p:nvSpPr>
        <p:spPr>
          <a:xfrm>
            <a:off x="782400" y="1828800"/>
            <a:ext cx="10800000" cy="4297366"/>
          </a:xfrm>
        </p:spPr>
        <p:txBody>
          <a:bodyPr>
            <a:noAutofit/>
          </a:bodyPr>
          <a:lstStyle>
            <a:lvl1pPr marL="243834" indent="-243834" rtl="0">
              <a:spcBef>
                <a:spcPts val="600"/>
              </a:spcBef>
              <a:spcAft>
                <a:spcPts val="0"/>
              </a:spcAft>
              <a:defRPr sz="1200"/>
            </a:lvl1pPr>
            <a:lvl2pPr rtl="0">
              <a:spcBef>
                <a:spcPts val="600"/>
              </a:spcBef>
              <a:spcAft>
                <a:spcPts val="0"/>
              </a:spcAft>
              <a:defRPr sz="1200"/>
            </a:lvl2pPr>
            <a:lvl3pPr rtl="0">
              <a:spcBef>
                <a:spcPts val="600"/>
              </a:spcBef>
              <a:spcAft>
                <a:spcPts val="0"/>
              </a:spcAft>
              <a:defRPr sz="1200"/>
            </a:lvl3pPr>
            <a:lvl4pPr rtl="0">
              <a:spcBef>
                <a:spcPts val="600"/>
              </a:spcBef>
              <a:spcAft>
                <a:spcPts val="0"/>
              </a:spcAft>
              <a:defRPr sz="1200"/>
            </a:lvl4pPr>
            <a:lvl5pPr rtl="0">
              <a:spcBef>
                <a:spcPts val="600"/>
              </a:spcBef>
              <a:spcAft>
                <a:spcPts val="0"/>
              </a:spcAft>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Footer Placeholder 9">
            <a:extLst>
              <a:ext uri="{FF2B5EF4-FFF2-40B4-BE49-F238E27FC236}">
                <a16:creationId xmlns:a16="http://schemas.microsoft.com/office/drawing/2014/main" id="{95FCECD8-9E1F-CB48-8611-8F8FB6230F1E}"/>
              </a:ext>
            </a:extLst>
          </p:cNvPr>
          <p:cNvSpPr>
            <a:spLocks noGrp="1"/>
          </p:cNvSpPr>
          <p:nvPr>
            <p:ph type="ftr" sz="quarter" idx="3"/>
          </p:nvPr>
        </p:nvSpPr>
        <p:spPr>
          <a:xfrm>
            <a:off x="4492800" y="6445099"/>
            <a:ext cx="7088597" cy="134400"/>
          </a:xfrm>
          <a:prstGeom prst="rect">
            <a:avLst/>
          </a:prstGeom>
        </p:spPr>
        <p:txBody>
          <a:bodyPr vert="horz" lIns="0" tIns="0" rIns="0" bIns="0" rtlCol="0" anchor="b" anchorCtr="0"/>
          <a:lstStyle>
            <a:lvl1pPr algn="r" rtl="0">
              <a:defRPr sz="1067">
                <a:ln>
                  <a:noFill/>
                </a:ln>
                <a:solidFill>
                  <a:schemeClr val="bg1">
                    <a:lumMod val="75000"/>
                  </a:schemeClr>
                </a:solidFill>
                <a:latin typeface="Arial" panose="020B0604020202020204" pitchFamily="34" charset="0"/>
                <a:cs typeface="Arial" panose="020B0604020202020204" pitchFamily="34" charset="0"/>
              </a:defRPr>
            </a:lvl1pPr>
          </a:lstStyle>
          <a:p>
            <a:r>
              <a:rPr lang="en-GB"/>
              <a:t>BULK DATA CENTERS SEPTEMBER 2023</a:t>
            </a:r>
          </a:p>
        </p:txBody>
      </p:sp>
      <p:sp>
        <p:nvSpPr>
          <p:cNvPr id="7" name="TextBox 6">
            <a:extLst>
              <a:ext uri="{FF2B5EF4-FFF2-40B4-BE49-F238E27FC236}">
                <a16:creationId xmlns:a16="http://schemas.microsoft.com/office/drawing/2014/main" id="{405EBC0E-A903-4FCE-0CD4-1C3B1E07DE5D}"/>
              </a:ext>
            </a:extLst>
          </p:cNvPr>
          <p:cNvSpPr txBox="1"/>
          <p:nvPr userDrawn="1"/>
        </p:nvSpPr>
        <p:spPr>
          <a:xfrm>
            <a:off x="782399" y="6415352"/>
            <a:ext cx="2379901" cy="164212"/>
          </a:xfrm>
          <a:prstGeom prst="rect">
            <a:avLst/>
          </a:prstGeom>
          <a:noFill/>
        </p:spPr>
        <p:txBody>
          <a:bodyPr wrap="square" lIns="0" tIns="0" rIns="0" bIns="0" rtlCol="0">
            <a:spAutoFit/>
          </a:bodyPr>
          <a:lstStyle/>
          <a:p>
            <a:pPr algn="l" rtl="0"/>
            <a:r>
              <a:rPr lang="en-GB" sz="1067">
                <a:solidFill>
                  <a:schemeClr val="bg1">
                    <a:lumMod val="75000"/>
                  </a:schemeClr>
                </a:solidFill>
                <a:latin typeface="Arial" panose="020B0604020202020204" pitchFamily="34" charset="0"/>
                <a:cs typeface="Arial" panose="020B0604020202020204" pitchFamily="34" charset="0"/>
              </a:rPr>
              <a:t>CLASSIFICATION - CONFIDENTIAL</a:t>
            </a:r>
          </a:p>
        </p:txBody>
      </p:sp>
      <p:sp>
        <p:nvSpPr>
          <p:cNvPr id="8" name="Text Placeholder 7">
            <a:extLst>
              <a:ext uri="{FF2B5EF4-FFF2-40B4-BE49-F238E27FC236}">
                <a16:creationId xmlns:a16="http://schemas.microsoft.com/office/drawing/2014/main" id="{3C22937A-3B3A-299B-5AA0-E2987F752A84}"/>
              </a:ext>
            </a:extLst>
          </p:cNvPr>
          <p:cNvSpPr>
            <a:spLocks noGrp="1"/>
          </p:cNvSpPr>
          <p:nvPr>
            <p:ph type="body" sz="quarter" idx="10" hasCustomPrompt="1"/>
          </p:nvPr>
        </p:nvSpPr>
        <p:spPr>
          <a:xfrm>
            <a:off x="782399" y="1453949"/>
            <a:ext cx="10798998" cy="298708"/>
          </a:xfrm>
          <a:gradFill>
            <a:gsLst>
              <a:gs pos="95000">
                <a:schemeClr val="bg1"/>
              </a:gs>
              <a:gs pos="96000">
                <a:schemeClr val="tx1"/>
              </a:gs>
            </a:gsLst>
            <a:lin ang="5400000" scaled="1"/>
          </a:gradFill>
        </p:spPr>
        <p:txBody>
          <a:bodyPr>
            <a:normAutofit/>
          </a:bodyPr>
          <a:lstStyle>
            <a:lvl1pPr marL="0" indent="0">
              <a:buNone/>
              <a:defRPr sz="1600" b="0"/>
            </a:lvl1pPr>
          </a:lstStyle>
          <a:p>
            <a:pPr lvl="0"/>
            <a:r>
              <a:rPr lang="en-US"/>
              <a:t>Sub-heading</a:t>
            </a:r>
            <a:endParaRPr lang="en-GB"/>
          </a:p>
        </p:txBody>
      </p:sp>
    </p:spTree>
    <p:extLst>
      <p:ext uri="{BB962C8B-B14F-4D97-AF65-F5344CB8AC3E}">
        <p14:creationId xmlns:p14="http://schemas.microsoft.com/office/powerpoint/2010/main" val="3597597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3B85A9-162D-4334-84EE-CBB133AFAD08}"/>
              </a:ext>
            </a:extLst>
          </p:cNvPr>
          <p:cNvGraphicFramePr>
            <a:graphicFrameLocks noChangeAspect="1"/>
          </p:cNvGraphicFramePr>
          <p:nvPr userDrawn="1">
            <p:custDataLst>
              <p:tags r:id="rId1"/>
            </p:custDataLst>
            <p:extLst>
              <p:ext uri="{D42A27DB-BD31-4B8C-83A1-F6EECF244321}">
                <p14:modId xmlns:p14="http://schemas.microsoft.com/office/powerpoint/2010/main" val="2472288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703B85A9-162D-4334-84EE-CBB133AFAD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5">
            <a:extLst>
              <a:ext uri="{FF2B5EF4-FFF2-40B4-BE49-F238E27FC236}">
                <a16:creationId xmlns:a16="http://schemas.microsoft.com/office/drawing/2014/main" id="{336431FE-174A-4D2F-A92F-1D0AA5E4ABFB}"/>
              </a:ext>
            </a:extLst>
          </p:cNvPr>
          <p:cNvSpPr/>
          <p:nvPr userDrawn="1"/>
        </p:nvSpPr>
        <p:spPr>
          <a:xfrm>
            <a:off x="9462381" y="2731407"/>
            <a:ext cx="1360170" cy="2076450"/>
          </a:xfrm>
          <a:custGeom>
            <a:avLst/>
            <a:gdLst/>
            <a:ahLst/>
            <a:cxnLst/>
            <a:rect l="l" t="t"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p:spPr>
        <p:txBody>
          <a:bodyPr wrap="square" lIns="0" tIns="0" rIns="0" bIns="0" rtlCol="0"/>
          <a:lstStyle/>
          <a:p>
            <a:endParaRPr/>
          </a:p>
        </p:txBody>
      </p:sp>
      <p:sp>
        <p:nvSpPr>
          <p:cNvPr id="13" name="object 6">
            <a:extLst>
              <a:ext uri="{FF2B5EF4-FFF2-40B4-BE49-F238E27FC236}">
                <a16:creationId xmlns:a16="http://schemas.microsoft.com/office/drawing/2014/main" id="{7EC14487-1B26-45A1-A4A0-A3686E74DEA1}"/>
              </a:ext>
            </a:extLst>
          </p:cNvPr>
          <p:cNvSpPr/>
          <p:nvPr userDrawn="1"/>
        </p:nvSpPr>
        <p:spPr>
          <a:xfrm>
            <a:off x="10822475" y="2731409"/>
            <a:ext cx="1360170" cy="2076450"/>
          </a:xfrm>
          <a:custGeom>
            <a:avLst/>
            <a:gdLst/>
            <a:ahLst/>
            <a:cxnLst/>
            <a:rect l="l" t="t"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p:spPr>
        <p:txBody>
          <a:bodyPr wrap="square" lIns="0" tIns="0" rIns="0" bIns="0" rtlCol="0"/>
          <a:lstStyle/>
          <a:p>
            <a:endParaRPr/>
          </a:p>
        </p:txBody>
      </p:sp>
      <p:sp>
        <p:nvSpPr>
          <p:cNvPr id="14" name="object 7">
            <a:extLst>
              <a:ext uri="{FF2B5EF4-FFF2-40B4-BE49-F238E27FC236}">
                <a16:creationId xmlns:a16="http://schemas.microsoft.com/office/drawing/2014/main" id="{83BE97B9-6E1F-429B-BC98-416FAB58DFB6}"/>
              </a:ext>
            </a:extLst>
          </p:cNvPr>
          <p:cNvSpPr/>
          <p:nvPr userDrawn="1"/>
        </p:nvSpPr>
        <p:spPr>
          <a:xfrm>
            <a:off x="8107032" y="659402"/>
            <a:ext cx="4076065" cy="6220460"/>
          </a:xfrm>
          <a:custGeom>
            <a:avLst/>
            <a:gdLst/>
            <a:ahLst/>
            <a:cxnLst/>
            <a:rect l="l" t="t"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p:spPr>
        <p:txBody>
          <a:bodyPr wrap="square" lIns="0" tIns="0" rIns="0" bIns="0" rtlCol="0"/>
          <a:lstStyle/>
          <a:p>
            <a:endParaRPr/>
          </a:p>
        </p:txBody>
      </p:sp>
      <p:sp>
        <p:nvSpPr>
          <p:cNvPr id="2" name="Title 1">
            <a:extLst>
              <a:ext uri="{FF2B5EF4-FFF2-40B4-BE49-F238E27FC236}">
                <a16:creationId xmlns:a16="http://schemas.microsoft.com/office/drawing/2014/main" id="{76744531-7BFC-4284-8450-AF589B4A7023}"/>
              </a:ext>
            </a:extLst>
          </p:cNvPr>
          <p:cNvSpPr>
            <a:spLocks noGrp="1"/>
          </p:cNvSpPr>
          <p:nvPr>
            <p:ph type="ctrTitle"/>
          </p:nvPr>
        </p:nvSpPr>
        <p:spPr>
          <a:xfrm>
            <a:off x="596348" y="2731405"/>
            <a:ext cx="9144000" cy="590931"/>
          </a:xfrm>
        </p:spPr>
        <p:txBody>
          <a:bodyPr vert="horz" anchor="b"/>
          <a:lstStyle>
            <a:lvl1pPr algn="l">
              <a:defRPr sz="36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191D739E-3F73-4C3E-8D5C-2C47E332CDEF}"/>
              </a:ext>
            </a:extLst>
          </p:cNvPr>
          <p:cNvSpPr>
            <a:spLocks noGrp="1"/>
          </p:cNvSpPr>
          <p:nvPr>
            <p:ph type="subTitle" idx="1"/>
          </p:nvPr>
        </p:nvSpPr>
        <p:spPr>
          <a:xfrm>
            <a:off x="596348" y="3414411"/>
            <a:ext cx="9144000" cy="40011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object 6">
            <a:extLst>
              <a:ext uri="{FF2B5EF4-FFF2-40B4-BE49-F238E27FC236}">
                <a16:creationId xmlns:a16="http://schemas.microsoft.com/office/drawing/2014/main" id="{5FFCB082-AB6C-46B4-918F-68FCF1369C32}"/>
              </a:ext>
            </a:extLst>
          </p:cNvPr>
          <p:cNvSpPr/>
          <p:nvPr userDrawn="1"/>
        </p:nvSpPr>
        <p:spPr>
          <a:xfrm>
            <a:off x="679528" y="698703"/>
            <a:ext cx="1800238" cy="681168"/>
          </a:xfrm>
          <a:custGeom>
            <a:avLst/>
            <a:gdLst/>
            <a:ahLst/>
            <a:cxnLst/>
            <a:rect l="l" t="t"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p:spPr>
        <p:txBody>
          <a:bodyPr wrap="square" lIns="0" tIns="0" rIns="0" bIns="0" rtlCol="0"/>
          <a:lstStyle/>
          <a:p>
            <a:endParaRPr/>
          </a:p>
        </p:txBody>
      </p:sp>
    </p:spTree>
    <p:extLst>
      <p:ext uri="{BB962C8B-B14F-4D97-AF65-F5344CB8AC3E}">
        <p14:creationId xmlns:p14="http://schemas.microsoft.com/office/powerpoint/2010/main" val="35448058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9D8E27-6D07-41EA-BD3D-327B731E7555}"/>
              </a:ext>
            </a:extLst>
          </p:cNvPr>
          <p:cNvGraphicFramePr>
            <a:graphicFrameLocks noChangeAspect="1"/>
          </p:cNvGraphicFramePr>
          <p:nvPr userDrawn="1">
            <p:custDataLst>
              <p:tags r:id="rId1"/>
            </p:custDataLst>
            <p:extLst>
              <p:ext uri="{D42A27DB-BD31-4B8C-83A1-F6EECF244321}">
                <p14:modId xmlns:p14="http://schemas.microsoft.com/office/powerpoint/2010/main" val="378972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829D8E27-6D07-41EA-BD3D-327B731E75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FEDA0C-1F2E-4B1E-928F-EBB120618C9F}"/>
              </a:ext>
            </a:extLst>
          </p:cNvPr>
          <p:cNvSpPr>
            <a:spLocks noGrp="1"/>
          </p:cNvSpPr>
          <p:nvPr>
            <p:ph type="title" hasCustomPrompt="1"/>
          </p:nvPr>
        </p:nvSpPr>
        <p:spPr/>
        <p:txBody>
          <a:bodyPr vert="horz"/>
          <a:lstStyle>
            <a:lvl1pPr>
              <a:defRPr/>
            </a:lvl1pPr>
          </a:lstStyle>
          <a:p>
            <a:r>
              <a:rPr lang="en-US"/>
              <a:t>Heading</a:t>
            </a:r>
          </a:p>
        </p:txBody>
      </p:sp>
      <p:sp>
        <p:nvSpPr>
          <p:cNvPr id="3" name="Content Placeholder 2">
            <a:extLst>
              <a:ext uri="{FF2B5EF4-FFF2-40B4-BE49-F238E27FC236}">
                <a16:creationId xmlns:a16="http://schemas.microsoft.com/office/drawing/2014/main" id="{D21E5011-75DA-419F-B196-CFE15910EFC8}"/>
              </a:ext>
            </a:extLst>
          </p:cNvPr>
          <p:cNvSpPr>
            <a:spLocks noGrp="1"/>
          </p:cNvSpPr>
          <p:nvPr>
            <p:ph idx="1" hasCustomPrompt="1"/>
          </p:nvPr>
        </p:nvSpPr>
        <p:spPr/>
        <p:txBody>
          <a:bodyPr/>
          <a:lstStyle/>
          <a:p>
            <a:r>
              <a:rPr lang="en-US"/>
              <a:t>Text level 1</a:t>
            </a:r>
          </a:p>
          <a:p>
            <a:pPr lvl="1"/>
            <a:r>
              <a:rPr lang="en-US"/>
              <a:t>Tab to move down to next level</a:t>
            </a:r>
          </a:p>
          <a:p>
            <a:pPr lvl="2"/>
            <a:r>
              <a:rPr lang="en-US"/>
              <a:t>Shift-tab to move up to next level</a:t>
            </a:r>
          </a:p>
          <a:p>
            <a:pPr lvl="3"/>
            <a:r>
              <a:rPr lang="en-US"/>
              <a:t>Para spacing is 8pt by default</a:t>
            </a:r>
          </a:p>
          <a:p>
            <a:pPr lvl="4"/>
            <a:r>
              <a:rPr lang="en-US"/>
              <a:t>Change spacing if change type size from 16pt used here as default</a:t>
            </a:r>
          </a:p>
        </p:txBody>
      </p:sp>
      <p:sp>
        <p:nvSpPr>
          <p:cNvPr id="4" name="Date Placeholder 3">
            <a:extLst>
              <a:ext uri="{FF2B5EF4-FFF2-40B4-BE49-F238E27FC236}">
                <a16:creationId xmlns:a16="http://schemas.microsoft.com/office/drawing/2014/main" id="{6A0099EE-CB48-41C8-9D13-893526455746}"/>
              </a:ext>
            </a:extLst>
          </p:cNvPr>
          <p:cNvSpPr>
            <a:spLocks noGrp="1"/>
          </p:cNvSpPr>
          <p:nvPr>
            <p:ph type="dt" sz="half" idx="10"/>
          </p:nvPr>
        </p:nvSpPr>
        <p:spPr>
          <a:xfrm>
            <a:off x="8603974" y="6542763"/>
            <a:ext cx="2743200" cy="230832"/>
          </a:xfrm>
          <a:prstGeom prst="rect">
            <a:avLst/>
          </a:prstGeom>
        </p:spPr>
        <p:txBody>
          <a:bodyPr/>
          <a:lstStyle/>
          <a:p>
            <a:fld id="{81A56C51-500A-4769-A8F4-2239C09CB297}" type="datetime1">
              <a:rPr lang="en-US" smtClean="0"/>
              <a:t>1/18/26</a:t>
            </a:fld>
            <a:endParaRPr lang="en-US"/>
          </a:p>
        </p:txBody>
      </p:sp>
      <p:sp>
        <p:nvSpPr>
          <p:cNvPr id="5" name="Footer Placeholder 4">
            <a:extLst>
              <a:ext uri="{FF2B5EF4-FFF2-40B4-BE49-F238E27FC236}">
                <a16:creationId xmlns:a16="http://schemas.microsoft.com/office/drawing/2014/main" id="{E4F072BD-9C3E-4B51-BF47-8CC14A6747FA}"/>
              </a:ext>
            </a:extLst>
          </p:cNvPr>
          <p:cNvSpPr>
            <a:spLocks noGrp="1"/>
          </p:cNvSpPr>
          <p:nvPr>
            <p:ph type="ftr" sz="quarter" idx="11"/>
          </p:nvPr>
        </p:nvSpPr>
        <p:spPr/>
        <p:txBody>
          <a:bodyPr/>
          <a:lstStyle/>
          <a:p>
            <a:pPr algn="l"/>
            <a:r>
              <a:rPr lang="en-US"/>
              <a:t>Document title or footer</a:t>
            </a:r>
          </a:p>
        </p:txBody>
      </p:sp>
      <p:sp>
        <p:nvSpPr>
          <p:cNvPr id="6" name="Slide Number Placeholder 5">
            <a:extLst>
              <a:ext uri="{FF2B5EF4-FFF2-40B4-BE49-F238E27FC236}">
                <a16:creationId xmlns:a16="http://schemas.microsoft.com/office/drawing/2014/main" id="{106B81CF-2B5E-4404-BCC6-EC5A42ECEFE9}"/>
              </a:ext>
            </a:extLst>
          </p:cNvPr>
          <p:cNvSpPr>
            <a:spLocks noGrp="1"/>
          </p:cNvSpPr>
          <p:nvPr>
            <p:ph type="sldNum" sz="quarter" idx="12"/>
          </p:nvPr>
        </p:nvSpPr>
        <p:spPr/>
        <p:txBody>
          <a:bodyPr/>
          <a:lstStyle/>
          <a:p>
            <a:fld id="{50A6C693-FA55-4929-8F02-9C5C1D56A297}" type="slidenum">
              <a:rPr lang="en-US" smtClean="0"/>
              <a:t>‹#›</a:t>
            </a:fld>
            <a:endParaRPr lang="en-US"/>
          </a:p>
        </p:txBody>
      </p:sp>
    </p:spTree>
    <p:extLst>
      <p:ext uri="{BB962C8B-B14F-4D97-AF65-F5344CB8AC3E}">
        <p14:creationId xmlns:p14="http://schemas.microsoft.com/office/powerpoint/2010/main" val="27727367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0D298DD-9F74-4CCF-925B-8B17AEDE71FC}"/>
              </a:ext>
            </a:extLst>
          </p:cNvPr>
          <p:cNvGraphicFramePr>
            <a:graphicFrameLocks noChangeAspect="1"/>
          </p:cNvGraphicFramePr>
          <p:nvPr userDrawn="1">
            <p:custDataLst>
              <p:tags r:id="rId1"/>
            </p:custDataLst>
            <p:extLst>
              <p:ext uri="{D42A27DB-BD31-4B8C-83A1-F6EECF244321}">
                <p14:modId xmlns:p14="http://schemas.microsoft.com/office/powerpoint/2010/main" val="333765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00D298DD-9F74-4CCF-925B-8B17AEDE71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object 2">
            <a:extLst>
              <a:ext uri="{FF2B5EF4-FFF2-40B4-BE49-F238E27FC236}">
                <a16:creationId xmlns:a16="http://schemas.microsoft.com/office/drawing/2014/main" id="{358D238B-4336-4CA5-A5E8-5893F6EB2072}"/>
              </a:ext>
            </a:extLst>
          </p:cNvPr>
          <p:cNvSpPr/>
          <p:nvPr userDrawn="1"/>
        </p:nvSpPr>
        <p:spPr>
          <a:xfrm>
            <a:off x="0" y="0"/>
            <a:ext cx="12192000" cy="6345238"/>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chemeClr val="accent2"/>
          </a:solidFill>
        </p:spPr>
        <p:txBody>
          <a:bodyPr wrap="square" lIns="0" tIns="0" rIns="0" bIns="0" rtlCol="0"/>
          <a:lstStyle/>
          <a:p>
            <a:endParaRPr/>
          </a:p>
        </p:txBody>
      </p:sp>
      <p:sp>
        <p:nvSpPr>
          <p:cNvPr id="4" name="Date Placeholder 3">
            <a:extLst>
              <a:ext uri="{FF2B5EF4-FFF2-40B4-BE49-F238E27FC236}">
                <a16:creationId xmlns:a16="http://schemas.microsoft.com/office/drawing/2014/main" id="{3974AB40-BB34-416E-95DE-C0B89F260F5E}"/>
              </a:ext>
            </a:extLst>
          </p:cNvPr>
          <p:cNvSpPr>
            <a:spLocks noGrp="1"/>
          </p:cNvSpPr>
          <p:nvPr>
            <p:ph type="dt" sz="half" idx="10"/>
          </p:nvPr>
        </p:nvSpPr>
        <p:spPr>
          <a:xfrm>
            <a:off x="8603974" y="6542763"/>
            <a:ext cx="2743200" cy="230832"/>
          </a:xfrm>
          <a:prstGeom prst="rect">
            <a:avLst/>
          </a:prstGeom>
        </p:spPr>
        <p:txBody>
          <a:bodyPr/>
          <a:lstStyle/>
          <a:p>
            <a:fld id="{70F5E192-314C-49FE-8BEE-4E7223DFD809}" type="datetime1">
              <a:rPr lang="en-US" smtClean="0"/>
              <a:t>1/18/26</a:t>
            </a:fld>
            <a:endParaRPr lang="en-US"/>
          </a:p>
        </p:txBody>
      </p:sp>
      <p:sp>
        <p:nvSpPr>
          <p:cNvPr id="5" name="Footer Placeholder 4">
            <a:extLst>
              <a:ext uri="{FF2B5EF4-FFF2-40B4-BE49-F238E27FC236}">
                <a16:creationId xmlns:a16="http://schemas.microsoft.com/office/drawing/2014/main" id="{30F7C5D3-F267-4D25-9261-A3F86C059912}"/>
              </a:ext>
            </a:extLst>
          </p:cNvPr>
          <p:cNvSpPr>
            <a:spLocks noGrp="1"/>
          </p:cNvSpPr>
          <p:nvPr>
            <p:ph type="ftr" sz="quarter" idx="11"/>
          </p:nvPr>
        </p:nvSpPr>
        <p:spPr/>
        <p:txBody>
          <a:bodyPr/>
          <a:lstStyle/>
          <a:p>
            <a:pPr algn="l"/>
            <a:r>
              <a:rPr lang="en-US"/>
              <a:t>Document title or footer</a:t>
            </a:r>
          </a:p>
        </p:txBody>
      </p:sp>
      <p:sp>
        <p:nvSpPr>
          <p:cNvPr id="6" name="Slide Number Placeholder 5">
            <a:extLst>
              <a:ext uri="{FF2B5EF4-FFF2-40B4-BE49-F238E27FC236}">
                <a16:creationId xmlns:a16="http://schemas.microsoft.com/office/drawing/2014/main" id="{608A35B7-1C66-48AF-A45F-AE034CC957B8}"/>
              </a:ext>
            </a:extLst>
          </p:cNvPr>
          <p:cNvSpPr>
            <a:spLocks noGrp="1"/>
          </p:cNvSpPr>
          <p:nvPr>
            <p:ph type="sldNum" sz="quarter" idx="12"/>
          </p:nvPr>
        </p:nvSpPr>
        <p:spPr/>
        <p:txBody>
          <a:bodyPr/>
          <a:lstStyle/>
          <a:p>
            <a:fld id="{50A6C693-FA55-4929-8F02-9C5C1D56A297}" type="slidenum">
              <a:rPr lang="en-US" smtClean="0"/>
              <a:t>‹#›</a:t>
            </a:fld>
            <a:endParaRPr lang="en-US"/>
          </a:p>
        </p:txBody>
      </p:sp>
      <p:sp>
        <p:nvSpPr>
          <p:cNvPr id="3" name="Title 2">
            <a:extLst>
              <a:ext uri="{FF2B5EF4-FFF2-40B4-BE49-F238E27FC236}">
                <a16:creationId xmlns:a16="http://schemas.microsoft.com/office/drawing/2014/main" id="{883D8D0D-DE15-41C4-BDE8-E0011F50EDC5}"/>
              </a:ext>
            </a:extLst>
          </p:cNvPr>
          <p:cNvSpPr>
            <a:spLocks noGrp="1"/>
          </p:cNvSpPr>
          <p:nvPr>
            <p:ph type="title" hasCustomPrompt="1"/>
          </p:nvPr>
        </p:nvSpPr>
        <p:spPr/>
        <p:txBody>
          <a:bodyPr vert="horz"/>
          <a:lstStyle>
            <a:lvl1pPr>
              <a:defRPr>
                <a:solidFill>
                  <a:schemeClr val="bg1"/>
                </a:solidFill>
              </a:defRPr>
            </a:lvl1pPr>
          </a:lstStyle>
          <a:p>
            <a:r>
              <a:rPr lang="en-US"/>
              <a:t>Agenda / contents</a:t>
            </a:r>
          </a:p>
        </p:txBody>
      </p:sp>
      <p:grpSp>
        <p:nvGrpSpPr>
          <p:cNvPr id="10" name="object 2">
            <a:extLst>
              <a:ext uri="{FF2B5EF4-FFF2-40B4-BE49-F238E27FC236}">
                <a16:creationId xmlns:a16="http://schemas.microsoft.com/office/drawing/2014/main" id="{0E0B79F8-4837-49B4-87DB-6A4C772EBC28}"/>
              </a:ext>
            </a:extLst>
          </p:cNvPr>
          <p:cNvGrpSpPr/>
          <p:nvPr userDrawn="1"/>
        </p:nvGrpSpPr>
        <p:grpSpPr>
          <a:xfrm>
            <a:off x="11002424" y="0"/>
            <a:ext cx="1163955" cy="1342390"/>
            <a:chOff x="11002424" y="0"/>
            <a:chExt cx="1163955" cy="1342390"/>
          </a:xfrm>
        </p:grpSpPr>
        <p:sp>
          <p:nvSpPr>
            <p:cNvPr id="11" name="object 3">
              <a:extLst>
                <a:ext uri="{FF2B5EF4-FFF2-40B4-BE49-F238E27FC236}">
                  <a16:creationId xmlns:a16="http://schemas.microsoft.com/office/drawing/2014/main" id="{ED6461F7-37BA-4112-9F62-4F00A248F0B8}"/>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2" name="object 4">
              <a:extLst>
                <a:ext uri="{FF2B5EF4-FFF2-40B4-BE49-F238E27FC236}">
                  <a16:creationId xmlns:a16="http://schemas.microsoft.com/office/drawing/2014/main" id="{B45CA18A-FB8E-4FAC-97C1-5EE234E655EF}"/>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20425266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0D298DD-9F74-4CCF-925B-8B17AEDE71FC}"/>
              </a:ext>
            </a:extLst>
          </p:cNvPr>
          <p:cNvGraphicFramePr>
            <a:graphicFrameLocks noChangeAspect="1"/>
          </p:cNvGraphicFramePr>
          <p:nvPr userDrawn="1">
            <p:custDataLst>
              <p:tags r:id="rId1"/>
            </p:custDataLst>
            <p:extLst>
              <p:ext uri="{D42A27DB-BD31-4B8C-83A1-F6EECF244321}">
                <p14:modId xmlns:p14="http://schemas.microsoft.com/office/powerpoint/2010/main" val="3485384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00D298DD-9F74-4CCF-925B-8B17AEDE71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object 2">
            <a:extLst>
              <a:ext uri="{FF2B5EF4-FFF2-40B4-BE49-F238E27FC236}">
                <a16:creationId xmlns:a16="http://schemas.microsoft.com/office/drawing/2014/main" id="{358D238B-4336-4CA5-A5E8-5893F6EB2072}"/>
              </a:ext>
            </a:extLst>
          </p:cNvPr>
          <p:cNvSpPr/>
          <p:nvPr userDrawn="1"/>
        </p:nvSpPr>
        <p:spPr>
          <a:xfrm>
            <a:off x="0" y="0"/>
            <a:ext cx="12192000" cy="6345238"/>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14151033-3B7F-4CB3-B690-5AD5B4A9953B}"/>
              </a:ext>
            </a:extLst>
          </p:cNvPr>
          <p:cNvSpPr>
            <a:spLocks noGrp="1"/>
          </p:cNvSpPr>
          <p:nvPr>
            <p:ph type="title" hasCustomPrompt="1"/>
          </p:nvPr>
        </p:nvSpPr>
        <p:spPr>
          <a:xfrm>
            <a:off x="593310" y="4035779"/>
            <a:ext cx="10515600" cy="535531"/>
          </a:xfrm>
        </p:spPr>
        <p:txBody>
          <a:bodyPr vert="horz" anchor="b"/>
          <a:lstStyle>
            <a:lvl1pPr>
              <a:defRPr sz="3200">
                <a:solidFill>
                  <a:schemeClr val="bg1"/>
                </a:solidFill>
              </a:defRPr>
            </a:lvl1pPr>
          </a:lstStyle>
          <a:p>
            <a:r>
              <a:rPr lang="en-US"/>
              <a:t>Divider / section title</a:t>
            </a:r>
          </a:p>
        </p:txBody>
      </p:sp>
      <p:sp>
        <p:nvSpPr>
          <p:cNvPr id="4" name="Date Placeholder 3">
            <a:extLst>
              <a:ext uri="{FF2B5EF4-FFF2-40B4-BE49-F238E27FC236}">
                <a16:creationId xmlns:a16="http://schemas.microsoft.com/office/drawing/2014/main" id="{3974AB40-BB34-416E-95DE-C0B89F260F5E}"/>
              </a:ext>
            </a:extLst>
          </p:cNvPr>
          <p:cNvSpPr>
            <a:spLocks noGrp="1"/>
          </p:cNvSpPr>
          <p:nvPr>
            <p:ph type="dt" sz="half" idx="10"/>
          </p:nvPr>
        </p:nvSpPr>
        <p:spPr>
          <a:xfrm>
            <a:off x="8603974" y="6542763"/>
            <a:ext cx="2743200" cy="230832"/>
          </a:xfrm>
          <a:prstGeom prst="rect">
            <a:avLst/>
          </a:prstGeom>
        </p:spPr>
        <p:txBody>
          <a:bodyPr/>
          <a:lstStyle/>
          <a:p>
            <a:fld id="{16AF3A60-A8F4-456E-B54A-DA087516E416}" type="datetime1">
              <a:rPr lang="en-US" smtClean="0"/>
              <a:t>1/18/26</a:t>
            </a:fld>
            <a:endParaRPr lang="en-US"/>
          </a:p>
        </p:txBody>
      </p:sp>
      <p:sp>
        <p:nvSpPr>
          <p:cNvPr id="5" name="Footer Placeholder 4">
            <a:extLst>
              <a:ext uri="{FF2B5EF4-FFF2-40B4-BE49-F238E27FC236}">
                <a16:creationId xmlns:a16="http://schemas.microsoft.com/office/drawing/2014/main" id="{30F7C5D3-F267-4D25-9261-A3F86C059912}"/>
              </a:ext>
            </a:extLst>
          </p:cNvPr>
          <p:cNvSpPr>
            <a:spLocks noGrp="1"/>
          </p:cNvSpPr>
          <p:nvPr>
            <p:ph type="ftr" sz="quarter" idx="11"/>
          </p:nvPr>
        </p:nvSpPr>
        <p:spPr/>
        <p:txBody>
          <a:bodyPr/>
          <a:lstStyle/>
          <a:p>
            <a:pPr algn="l"/>
            <a:r>
              <a:rPr lang="en-US"/>
              <a:t>Document title or footer</a:t>
            </a:r>
          </a:p>
        </p:txBody>
      </p:sp>
      <p:sp>
        <p:nvSpPr>
          <p:cNvPr id="6" name="Slide Number Placeholder 5">
            <a:extLst>
              <a:ext uri="{FF2B5EF4-FFF2-40B4-BE49-F238E27FC236}">
                <a16:creationId xmlns:a16="http://schemas.microsoft.com/office/drawing/2014/main" id="{608A35B7-1C66-48AF-A45F-AE034CC957B8}"/>
              </a:ext>
            </a:extLst>
          </p:cNvPr>
          <p:cNvSpPr>
            <a:spLocks noGrp="1"/>
          </p:cNvSpPr>
          <p:nvPr>
            <p:ph type="sldNum" sz="quarter" idx="12"/>
          </p:nvPr>
        </p:nvSpPr>
        <p:spPr/>
        <p:txBody>
          <a:bodyPr/>
          <a:lstStyle/>
          <a:p>
            <a:fld id="{50A6C693-FA55-4929-8F02-9C5C1D56A297}" type="slidenum">
              <a:rPr lang="en-US" smtClean="0"/>
              <a:t>‹#›</a:t>
            </a:fld>
            <a:endParaRPr lang="en-US"/>
          </a:p>
        </p:txBody>
      </p:sp>
      <p:grpSp>
        <p:nvGrpSpPr>
          <p:cNvPr id="10" name="object 2">
            <a:extLst>
              <a:ext uri="{FF2B5EF4-FFF2-40B4-BE49-F238E27FC236}">
                <a16:creationId xmlns:a16="http://schemas.microsoft.com/office/drawing/2014/main" id="{0180B93B-F48F-4603-A2F1-B6D5C183E5C8}"/>
              </a:ext>
            </a:extLst>
          </p:cNvPr>
          <p:cNvGrpSpPr/>
          <p:nvPr userDrawn="1"/>
        </p:nvGrpSpPr>
        <p:grpSpPr>
          <a:xfrm>
            <a:off x="11002424" y="0"/>
            <a:ext cx="1163955" cy="1342390"/>
            <a:chOff x="11002424" y="0"/>
            <a:chExt cx="1163955" cy="1342390"/>
          </a:xfrm>
        </p:grpSpPr>
        <p:sp>
          <p:nvSpPr>
            <p:cNvPr id="11" name="object 3">
              <a:extLst>
                <a:ext uri="{FF2B5EF4-FFF2-40B4-BE49-F238E27FC236}">
                  <a16:creationId xmlns:a16="http://schemas.microsoft.com/office/drawing/2014/main" id="{77ED16B6-6125-458B-97D6-D57367A5316F}"/>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2" name="object 4">
              <a:extLst>
                <a:ext uri="{FF2B5EF4-FFF2-40B4-BE49-F238E27FC236}">
                  <a16:creationId xmlns:a16="http://schemas.microsoft.com/office/drawing/2014/main" id="{862D692C-9EEB-4D31-8702-E3B6BEFC793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6436905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Col Tex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068621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912B23-7FC3-4F95-9742-529F61ED1263}"/>
              </a:ext>
            </a:extLst>
          </p:cNvPr>
          <p:cNvSpPr>
            <a:spLocks noGrp="1"/>
          </p:cNvSpPr>
          <p:nvPr>
            <p:ph sz="half" idx="2"/>
          </p:nvPr>
        </p:nvSpPr>
        <p:spPr>
          <a:xfrm>
            <a:off x="6315075"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4" y="6542763"/>
            <a:ext cx="2743200" cy="230832"/>
          </a:xfrm>
          <a:prstGeom prst="rect">
            <a:avLst/>
          </a:prstGeom>
        </p:spPr>
        <p:txBody>
          <a:bodyPr/>
          <a:lstStyle/>
          <a:p>
            <a:fld id="{683640FF-AD1A-40B8-8BFB-00AF9BA633AF}"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3"/>
            <a:ext cx="7034695" cy="230832"/>
          </a:xfrm>
        </p:spPr>
        <p:txBody>
          <a:bodyPr/>
          <a:lstStyle/>
          <a:p>
            <a:pPr algn="l"/>
            <a:r>
              <a:rPr lang="en-US"/>
              <a:t>Document title or footer</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p:txBody>
          <a:bodyPr/>
          <a:lstStyle/>
          <a:p>
            <a:fld id="{50A6C693-FA55-4929-8F02-9C5C1D56A297}" type="slidenum">
              <a:rPr lang="en-US" smtClean="0"/>
              <a:t>‹#›</a:t>
            </a:fld>
            <a:endParaRPr lang="en-US"/>
          </a:p>
        </p:txBody>
      </p:sp>
      <p:cxnSp>
        <p:nvCxnSpPr>
          <p:cNvPr id="11" name="Straight Connector 10">
            <a:extLst>
              <a:ext uri="{FF2B5EF4-FFF2-40B4-BE49-F238E27FC236}">
                <a16:creationId xmlns:a16="http://schemas.microsoft.com/office/drawing/2014/main" id="{FB7E5949-A6C3-41FB-9886-31DDC17D032E}"/>
              </a:ext>
            </a:extLst>
          </p:cNvPr>
          <p:cNvCxnSpPr>
            <a:cxnSpLocks/>
          </p:cNvCxnSpPr>
          <p:nvPr userDrawn="1"/>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8733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 Pictur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81149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4" y="6542763"/>
            <a:ext cx="2743200" cy="230832"/>
          </a:xfrm>
          <a:prstGeom prst="rect">
            <a:avLst/>
          </a:prstGeom>
        </p:spPr>
        <p:txBody>
          <a:bodyPr/>
          <a:lstStyle/>
          <a:p>
            <a:fld id="{66964317-D126-49FA-B19A-CB2225553D52}"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3"/>
            <a:ext cx="7034695" cy="230832"/>
          </a:xfrm>
        </p:spPr>
        <p:txBody>
          <a:bodyPr/>
          <a:lstStyle/>
          <a:p>
            <a:pPr algn="l"/>
            <a:r>
              <a:rPr lang="en-US"/>
              <a:t>Document title or footer</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p:txBody>
          <a:bodyPr/>
          <a:lstStyle/>
          <a:p>
            <a:fld id="{50A6C693-FA55-4929-8F02-9C5C1D56A297}" type="slidenum">
              <a:rPr lang="en-US" smtClean="0"/>
              <a:t>‹#›</a:t>
            </a:fld>
            <a:endParaRPr lang="en-US"/>
          </a:p>
        </p:txBody>
      </p:sp>
      <p:cxnSp>
        <p:nvCxnSpPr>
          <p:cNvPr id="19" name="Straight Connector 18">
            <a:extLst>
              <a:ext uri="{FF2B5EF4-FFF2-40B4-BE49-F238E27FC236}">
                <a16:creationId xmlns:a16="http://schemas.microsoft.com/office/drawing/2014/main" id="{47A15CC3-251F-48E6-8674-5DCD16F5740F}"/>
              </a:ext>
            </a:extLst>
          </p:cNvPr>
          <p:cNvCxnSpPr>
            <a:cxnSpLocks/>
          </p:cNvCxnSpPr>
          <p:nvPr userDrawn="1"/>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object 25">
            <a:extLst>
              <a:ext uri="{FF2B5EF4-FFF2-40B4-BE49-F238E27FC236}">
                <a16:creationId xmlns:a16="http://schemas.microsoft.com/office/drawing/2014/main" id="{40419381-CDEA-465F-B9BF-DCC6561B3986}"/>
              </a:ext>
            </a:extLst>
          </p:cNvPr>
          <p:cNvSpPr/>
          <p:nvPr userDrawn="1"/>
        </p:nvSpPr>
        <p:spPr>
          <a:xfrm>
            <a:off x="6096000" y="1825625"/>
            <a:ext cx="6096000" cy="4351338"/>
          </a:xfrm>
          <a:prstGeom prst="rect">
            <a:avLst/>
          </a:prstGeom>
          <a:blipFill>
            <a:blip r:embed="rId5" cstate="print"/>
            <a:stretch>
              <a:fillRect l="-16086" r="-41664"/>
            </a:stretch>
          </a:blipFill>
        </p:spPr>
        <p:txBody>
          <a:bodyPr wrap="square" lIns="0" tIns="0" rIns="0" bIns="0" rtlCol="0"/>
          <a:lstStyle/>
          <a:p>
            <a:endParaRPr/>
          </a:p>
        </p:txBody>
      </p:sp>
    </p:spTree>
    <p:extLst>
      <p:ext uri="{BB962C8B-B14F-4D97-AF65-F5344CB8AC3E}">
        <p14:creationId xmlns:p14="http://schemas.microsoft.com/office/powerpoint/2010/main" val="3005592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166861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3ACCC63-C2C7-43B5-A4DD-9491DF3CE4CC}"/>
              </a:ext>
            </a:extLst>
          </p:cNvPr>
          <p:cNvPicPr>
            <a:picLocks noChangeAspect="1"/>
          </p:cNvPicPr>
          <p:nvPr userDrawn="1"/>
        </p:nvPicPr>
        <p:blipFill rotWithShape="1">
          <a:blip r:embed="rId5">
            <a:extLst>
              <a:ext uri="{28A0092B-C50C-407E-A947-70E740481C1C}">
                <a14:useLocalDpi xmlns:a14="http://schemas.microsoft.com/office/drawing/2010/main"/>
              </a:ext>
            </a:extLst>
          </a:blip>
          <a:srcRect r="12460"/>
          <a:stretch/>
        </p:blipFill>
        <p:spPr>
          <a:xfrm>
            <a:off x="4774832" y="0"/>
            <a:ext cx="7417168" cy="6345238"/>
          </a:xfrm>
          <a:prstGeom prst="rect">
            <a:avLst/>
          </a:prstGeom>
        </p:spPr>
      </p:pic>
      <p:sp>
        <p:nvSpPr>
          <p:cNvPr id="10" name="Rektangel 3">
            <a:extLst>
              <a:ext uri="{FF2B5EF4-FFF2-40B4-BE49-F238E27FC236}">
                <a16:creationId xmlns:a16="http://schemas.microsoft.com/office/drawing/2014/main" id="{F4F55FBE-4312-4EAC-A592-0F99BA61497D}"/>
              </a:ext>
            </a:extLst>
          </p:cNvPr>
          <p:cNvSpPr/>
          <p:nvPr userDrawn="1"/>
        </p:nvSpPr>
        <p:spPr>
          <a:xfrm>
            <a:off x="649674" y="0"/>
            <a:ext cx="7928161" cy="6345238"/>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374" h="6858000">
                <a:moveTo>
                  <a:pt x="0" y="0"/>
                </a:moveTo>
                <a:lnTo>
                  <a:pt x="6348413" y="0"/>
                </a:lnTo>
                <a:lnTo>
                  <a:pt x="8354374" y="3427256"/>
                </a:lnTo>
                <a:lnTo>
                  <a:pt x="6348413"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1" y="592280"/>
            <a:ext cx="6410739"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1" y="1825625"/>
            <a:ext cx="618103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4" y="6542763"/>
            <a:ext cx="2743200" cy="230832"/>
          </a:xfrm>
          <a:prstGeom prst="rect">
            <a:avLst/>
          </a:prstGeom>
        </p:spPr>
        <p:txBody>
          <a:bodyPr/>
          <a:lstStyle/>
          <a:p>
            <a:fld id="{1C1BB474-4454-4770-8A32-0701E58C3CDB}"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3"/>
            <a:ext cx="7034695" cy="230832"/>
          </a:xfrm>
        </p:spPr>
        <p:txBody>
          <a:bodyPr/>
          <a:lstStyle/>
          <a:p>
            <a:pPr algn="l"/>
            <a:r>
              <a:rPr lang="en-US"/>
              <a:t>Document title or footer</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p:txBody>
          <a:bodyPr/>
          <a:lstStyle/>
          <a:p>
            <a:fld id="{50A6C693-FA55-4929-8F02-9C5C1D56A297}" type="slidenum">
              <a:rPr lang="en-US" smtClean="0"/>
              <a:t>‹#›</a:t>
            </a:fld>
            <a:endParaRPr lang="en-US"/>
          </a:p>
        </p:txBody>
      </p:sp>
      <p:grpSp>
        <p:nvGrpSpPr>
          <p:cNvPr id="12" name="object 2">
            <a:extLst>
              <a:ext uri="{FF2B5EF4-FFF2-40B4-BE49-F238E27FC236}">
                <a16:creationId xmlns:a16="http://schemas.microsoft.com/office/drawing/2014/main" id="{D1608395-CE52-4641-926F-F35481788F0E}"/>
              </a:ext>
            </a:extLst>
          </p:cNvPr>
          <p:cNvGrpSpPr/>
          <p:nvPr userDrawn="1"/>
        </p:nvGrpSpPr>
        <p:grpSpPr>
          <a:xfrm>
            <a:off x="11002424" y="0"/>
            <a:ext cx="1163955" cy="1342390"/>
            <a:chOff x="11002424" y="0"/>
            <a:chExt cx="1163955" cy="1342390"/>
          </a:xfrm>
        </p:grpSpPr>
        <p:sp>
          <p:nvSpPr>
            <p:cNvPr id="13" name="object 3">
              <a:extLst>
                <a:ext uri="{FF2B5EF4-FFF2-40B4-BE49-F238E27FC236}">
                  <a16:creationId xmlns:a16="http://schemas.microsoft.com/office/drawing/2014/main" id="{33FC18E0-FB13-4DD5-B130-FF6A92B910CE}"/>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4" name="object 4">
              <a:extLst>
                <a:ext uri="{FF2B5EF4-FFF2-40B4-BE49-F238E27FC236}">
                  <a16:creationId xmlns:a16="http://schemas.microsoft.com/office/drawing/2014/main" id="{9A24B971-7026-42D2-A396-0B3B1260EED9}"/>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25773239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7132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192A0299-D176-4FED-AB9C-9C602FDDE624}"/>
              </a:ext>
            </a:extLst>
          </p:cNvPr>
          <p:cNvPicPr>
            <a:picLocks noChangeAspect="1"/>
          </p:cNvPicPr>
          <p:nvPr userDrawn="1"/>
        </p:nvPicPr>
        <p:blipFill rotWithShape="1">
          <a:blip r:embed="rId5">
            <a:extLst>
              <a:ext uri="{28A0092B-C50C-407E-A947-70E740481C1C}">
                <a14:useLocalDpi xmlns:a14="http://schemas.microsoft.com/office/drawing/2010/main"/>
              </a:ext>
            </a:extLst>
          </a:blip>
          <a:srcRect r="26560"/>
          <a:stretch/>
        </p:blipFill>
        <p:spPr>
          <a:xfrm>
            <a:off x="4238997" y="0"/>
            <a:ext cx="7953003" cy="6345238"/>
          </a:xfrm>
          <a:prstGeom prst="rect">
            <a:avLst/>
          </a:prstGeom>
        </p:spPr>
      </p:pic>
      <p:sp>
        <p:nvSpPr>
          <p:cNvPr id="10" name="Rektangel 3">
            <a:extLst>
              <a:ext uri="{FF2B5EF4-FFF2-40B4-BE49-F238E27FC236}">
                <a16:creationId xmlns:a16="http://schemas.microsoft.com/office/drawing/2014/main" id="{B96D7DA5-7262-4757-804D-45359B7DD73F}"/>
              </a:ext>
            </a:extLst>
          </p:cNvPr>
          <p:cNvSpPr/>
          <p:nvPr userDrawn="1"/>
        </p:nvSpPr>
        <p:spPr>
          <a:xfrm>
            <a:off x="649674" y="0"/>
            <a:ext cx="9805825" cy="6354072"/>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 name="connsiteX0" fmla="*/ 0 w 10090927"/>
              <a:gd name="connsiteY0" fmla="*/ 0 h 6858000"/>
              <a:gd name="connsiteX1" fmla="*/ 6348413 w 10090927"/>
              <a:gd name="connsiteY1" fmla="*/ 0 h 6858000"/>
              <a:gd name="connsiteX2" fmla="*/ 8354374 w 10090927"/>
              <a:gd name="connsiteY2" fmla="*/ 3427256 h 6858000"/>
              <a:gd name="connsiteX3" fmla="*/ 10090927 w 10090927"/>
              <a:gd name="connsiteY3" fmla="*/ 6848451 h 6858000"/>
              <a:gd name="connsiteX4" fmla="*/ 0 w 10090927"/>
              <a:gd name="connsiteY4" fmla="*/ 6858000 h 6858000"/>
              <a:gd name="connsiteX5" fmla="*/ 0 w 10090927"/>
              <a:gd name="connsiteY5" fmla="*/ 0 h 6858000"/>
              <a:gd name="connsiteX0" fmla="*/ 0 w 10332980"/>
              <a:gd name="connsiteY0" fmla="*/ 0 h 6867548"/>
              <a:gd name="connsiteX1" fmla="*/ 6348413 w 10332980"/>
              <a:gd name="connsiteY1" fmla="*/ 0 h 6867548"/>
              <a:gd name="connsiteX2" fmla="*/ 8354374 w 10332980"/>
              <a:gd name="connsiteY2" fmla="*/ 3427256 h 6867548"/>
              <a:gd name="connsiteX3" fmla="*/ 10332980 w 10332980"/>
              <a:gd name="connsiteY3" fmla="*/ 6867548 h 6867548"/>
              <a:gd name="connsiteX4" fmla="*/ 0 w 10332980"/>
              <a:gd name="connsiteY4" fmla="*/ 6858000 h 6867548"/>
              <a:gd name="connsiteX5" fmla="*/ 0 w 10332980"/>
              <a:gd name="connsiteY5" fmla="*/ 0 h 68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2980" h="6867548">
                <a:moveTo>
                  <a:pt x="0" y="0"/>
                </a:moveTo>
                <a:lnTo>
                  <a:pt x="6348413" y="0"/>
                </a:lnTo>
                <a:lnTo>
                  <a:pt x="8354374" y="3427256"/>
                </a:lnTo>
                <a:lnTo>
                  <a:pt x="10332980" y="6867548"/>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1" y="592280"/>
            <a:ext cx="6375400"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1" y="1825625"/>
            <a:ext cx="717053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4" y="6542763"/>
            <a:ext cx="2743200" cy="230832"/>
          </a:xfrm>
          <a:prstGeom prst="rect">
            <a:avLst/>
          </a:prstGeom>
        </p:spPr>
        <p:txBody>
          <a:bodyPr/>
          <a:lstStyle/>
          <a:p>
            <a:fld id="{F08503B8-16E7-4F6A-9184-7EEA89852A31}"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3"/>
            <a:ext cx="7034695" cy="230832"/>
          </a:xfrm>
        </p:spPr>
        <p:txBody>
          <a:bodyPr/>
          <a:lstStyle/>
          <a:p>
            <a:pPr algn="l"/>
            <a:r>
              <a:rPr lang="en-US"/>
              <a:t>Document title or footer</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p:txBody>
          <a:bodyPr/>
          <a:lstStyle/>
          <a:p>
            <a:fld id="{50A6C693-FA55-4929-8F02-9C5C1D56A297}" type="slidenum">
              <a:rPr lang="en-US" smtClean="0"/>
              <a:t>‹#›</a:t>
            </a:fld>
            <a:endParaRPr lang="en-US"/>
          </a:p>
        </p:txBody>
      </p:sp>
      <p:grpSp>
        <p:nvGrpSpPr>
          <p:cNvPr id="11" name="object 2">
            <a:extLst>
              <a:ext uri="{FF2B5EF4-FFF2-40B4-BE49-F238E27FC236}">
                <a16:creationId xmlns:a16="http://schemas.microsoft.com/office/drawing/2014/main" id="{183C9E2D-1474-4AE7-AD39-4F9459B2D15E}"/>
              </a:ext>
            </a:extLst>
          </p:cNvPr>
          <p:cNvGrpSpPr/>
          <p:nvPr userDrawn="1"/>
        </p:nvGrpSpPr>
        <p:grpSpPr>
          <a:xfrm>
            <a:off x="11002424" y="0"/>
            <a:ext cx="1163955" cy="1342390"/>
            <a:chOff x="11002424" y="0"/>
            <a:chExt cx="1163955" cy="1342390"/>
          </a:xfrm>
        </p:grpSpPr>
        <p:sp>
          <p:nvSpPr>
            <p:cNvPr id="12" name="object 3">
              <a:extLst>
                <a:ext uri="{FF2B5EF4-FFF2-40B4-BE49-F238E27FC236}">
                  <a16:creationId xmlns:a16="http://schemas.microsoft.com/office/drawing/2014/main" id="{AD1BC9C4-3658-49C5-8998-44EB8DB189FA}"/>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3" name="object 4">
              <a:extLst>
                <a:ext uri="{FF2B5EF4-FFF2-40B4-BE49-F238E27FC236}">
                  <a16:creationId xmlns:a16="http://schemas.microsoft.com/office/drawing/2014/main" id="{E52CFFB3-BF86-4A21-8593-E83EBA5658A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399580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8503DAAD-1810-F525-43E3-3BCABBE962C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7" hidden="1">
                        <a:extLst>
                          <a:ext uri="{FF2B5EF4-FFF2-40B4-BE49-F238E27FC236}">
                            <a16:creationId xmlns:a16="http://schemas.microsoft.com/office/drawing/2014/main" id="{8503DAAD-1810-F525-43E3-3BCABBE962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E1CD8743-005A-DBF7-FA67-2504BA65385E}"/>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8C52B86B-D93C-C5CE-470B-EE43F617B950}"/>
              </a:ext>
            </a:extLst>
          </p:cNvPr>
          <p:cNvSpPr>
            <a:spLocks/>
          </p:cNvSpPr>
          <p:nvPr userDrawn="1"/>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66A9C81B-5BAD-DA67-2ADA-1DE6A8C71CEA}"/>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BDBF9E0D-D657-0E6A-BAD3-70AF2FCE3A3F}"/>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9883F786-440A-0296-7C23-1E3522DBED03}"/>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BA5C4D78-186A-9A37-3A93-F930E7561D8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AAF7D0DF-B583-3E75-72D9-7B655EC34A7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AAF7D0DF-B583-3E75-72D9-7B655EC34A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object 2">
            <a:extLst>
              <a:ext uri="{FF2B5EF4-FFF2-40B4-BE49-F238E27FC236}">
                <a16:creationId xmlns:a16="http://schemas.microsoft.com/office/drawing/2014/main" id="{6E9D6CCC-2343-5A8F-4F7C-97B789E70AFD}"/>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TextBox 18">
            <a:extLst>
              <a:ext uri="{FF2B5EF4-FFF2-40B4-BE49-F238E27FC236}">
                <a16:creationId xmlns:a16="http://schemas.microsoft.com/office/drawing/2014/main" id="{984BCCA6-1322-41CB-B34B-0BAF4C2378D7}"/>
              </a:ext>
            </a:extLst>
          </p:cNvPr>
          <p:cNvSpPr txBox="1">
            <a:spLocks noChangeArrowheads="1"/>
          </p:cNvSpPr>
          <p:nvPr/>
        </p:nvSpPr>
        <p:spPr bwMode="auto">
          <a:xfrm>
            <a:off x="5897563" y="1720850"/>
            <a:ext cx="5599112" cy="400050"/>
          </a:xfrm>
          <a:prstGeom prst="rect">
            <a:avLst/>
          </a:prstGeom>
          <a:noFill/>
          <a:ln>
            <a:noFill/>
          </a:ln>
        </p:spPr>
        <p:txBody>
          <a:bodyPr>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2000" b="1">
                <a:solidFill>
                  <a:schemeClr val="bg1"/>
                </a:solidFill>
              </a:rPr>
              <a:t>1.	Section title</a:t>
            </a:r>
          </a:p>
        </p:txBody>
      </p:sp>
      <p:grpSp>
        <p:nvGrpSpPr>
          <p:cNvPr id="14" name="object 2">
            <a:extLst>
              <a:ext uri="{FF2B5EF4-FFF2-40B4-BE49-F238E27FC236}">
                <a16:creationId xmlns:a16="http://schemas.microsoft.com/office/drawing/2014/main" id="{4E13934B-BF35-9E82-06F4-B8B42F09621C}"/>
              </a:ext>
            </a:extLst>
          </p:cNvPr>
          <p:cNvGrpSpPr>
            <a:grpSpLocks/>
          </p:cNvGrpSpPr>
          <p:nvPr/>
        </p:nvGrpSpPr>
        <p:grpSpPr bwMode="auto">
          <a:xfrm>
            <a:off x="11002963" y="0"/>
            <a:ext cx="1163637" cy="1343025"/>
            <a:chOff x="11002424" y="0"/>
            <a:chExt cx="1163955" cy="1342390"/>
          </a:xfrm>
        </p:grpSpPr>
        <p:sp>
          <p:nvSpPr>
            <p:cNvPr id="15" name="object 3">
              <a:extLst>
                <a:ext uri="{FF2B5EF4-FFF2-40B4-BE49-F238E27FC236}">
                  <a16:creationId xmlns:a16="http://schemas.microsoft.com/office/drawing/2014/main" id="{8089FC2C-64CB-605E-9B86-9506ACDE74BB}"/>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4">
              <a:extLst>
                <a:ext uri="{FF2B5EF4-FFF2-40B4-BE49-F238E27FC236}">
                  <a16:creationId xmlns:a16="http://schemas.microsoft.com/office/drawing/2014/main" id="{1BD9F0E5-777A-15CA-5C35-25BF50B01F4D}"/>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7" name="Date Placeholder 3">
            <a:extLst>
              <a:ext uri="{FF2B5EF4-FFF2-40B4-BE49-F238E27FC236}">
                <a16:creationId xmlns:a16="http://schemas.microsoft.com/office/drawing/2014/main" id="{4868D9AA-186A-4E82-B27D-C520D7D95BF7}"/>
              </a:ext>
            </a:extLst>
          </p:cNvPr>
          <p:cNvSpPr>
            <a:spLocks noGrp="1"/>
          </p:cNvSpPr>
          <p:nvPr>
            <p:ph type="dt" sz="half" idx="10"/>
          </p:nvPr>
        </p:nvSpPr>
        <p:spPr/>
        <p:txBody>
          <a:bodyPr/>
          <a:lstStyle>
            <a:lvl1pPr>
              <a:defRPr/>
            </a:lvl1pPr>
          </a:lstStyle>
          <a:p>
            <a:pPr>
              <a:defRPr/>
            </a:pPr>
            <a:fld id="{634C6B6B-AF29-4C33-A2E0-7C31A35BF89E}" type="datetime1">
              <a:rPr lang="en-US"/>
              <a:pPr>
                <a:defRPr/>
              </a:pPr>
              <a:t>1/18/26</a:t>
            </a:fld>
            <a:endParaRPr lang="en-US"/>
          </a:p>
        </p:txBody>
      </p:sp>
      <p:sp>
        <p:nvSpPr>
          <p:cNvPr id="19" name="Slide Number Placeholder 5">
            <a:extLst>
              <a:ext uri="{FF2B5EF4-FFF2-40B4-BE49-F238E27FC236}">
                <a16:creationId xmlns:a16="http://schemas.microsoft.com/office/drawing/2014/main" id="{60D65CEB-C35A-1298-507F-81E647E3A604}"/>
              </a:ext>
            </a:extLst>
          </p:cNvPr>
          <p:cNvSpPr>
            <a:spLocks noGrp="1"/>
          </p:cNvSpPr>
          <p:nvPr>
            <p:ph type="sldNum" sz="quarter" idx="12"/>
          </p:nvPr>
        </p:nvSpPr>
        <p:spPr/>
        <p:txBody>
          <a:bodyPr/>
          <a:lstStyle>
            <a:lvl1pPr>
              <a:defRPr/>
            </a:lvl1pPr>
          </a:lstStyle>
          <a:p>
            <a:pPr>
              <a:defRPr/>
            </a:pPr>
            <a:fld id="{F50AAB3D-C6E7-44ED-85A8-44FA4D92E1F7}" type="slidenum">
              <a:rPr lang="en-US"/>
              <a:pPr>
                <a:defRPr/>
              </a:pPr>
              <a:t>‹#›</a:t>
            </a:fld>
            <a:endParaRPr lang="en-US"/>
          </a:p>
        </p:txBody>
      </p:sp>
      <p:sp>
        <p:nvSpPr>
          <p:cNvPr id="7" name="Plassholder for bunntekst 1">
            <a:extLst>
              <a:ext uri="{FF2B5EF4-FFF2-40B4-BE49-F238E27FC236}">
                <a16:creationId xmlns:a16="http://schemas.microsoft.com/office/drawing/2014/main" id="{C770D567-4655-250E-F0BF-E354B468690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29928975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69011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6">
            <a:extLst>
              <a:ext uri="{FF2B5EF4-FFF2-40B4-BE49-F238E27FC236}">
                <a16:creationId xmlns:a16="http://schemas.microsoft.com/office/drawing/2014/main" id="{A472E7AC-00AE-4497-B5A4-770908522F48}"/>
              </a:ext>
            </a:extLst>
          </p:cNvPr>
          <p:cNvSpPr/>
          <p:nvPr userDrawn="1"/>
        </p:nvSpPr>
        <p:spPr>
          <a:xfrm>
            <a:off x="8772144" y="0"/>
            <a:ext cx="3419855" cy="6345238"/>
          </a:xfrm>
          <a:prstGeom prst="rect">
            <a:avLst/>
          </a:prstGeom>
          <a:blipFill>
            <a:blip r:embed="rId5" cstate="print"/>
            <a:stretch>
              <a:fillRect t="-715"/>
            </a:stretch>
          </a:blipFill>
        </p:spPr>
        <p:txBody>
          <a:bodyPr wrap="square" lIns="0" tIns="0" rIns="0" bIns="0" rtlCol="0"/>
          <a:lstStyle/>
          <a:p>
            <a:endParaRPr/>
          </a:p>
        </p:txBody>
      </p:sp>
      <p:sp>
        <p:nvSpPr>
          <p:cNvPr id="10" name="Rektangel 3">
            <a:extLst>
              <a:ext uri="{FF2B5EF4-FFF2-40B4-BE49-F238E27FC236}">
                <a16:creationId xmlns:a16="http://schemas.microsoft.com/office/drawing/2014/main" id="{F4F55FBE-4312-4EAC-A592-0F99BA61497D}"/>
              </a:ext>
            </a:extLst>
          </p:cNvPr>
          <p:cNvSpPr/>
          <p:nvPr userDrawn="1"/>
        </p:nvSpPr>
        <p:spPr>
          <a:xfrm>
            <a:off x="3419014" y="0"/>
            <a:ext cx="7230578" cy="6345238"/>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374" h="6858000">
                <a:moveTo>
                  <a:pt x="0" y="0"/>
                </a:moveTo>
                <a:lnTo>
                  <a:pt x="6348413" y="0"/>
                </a:lnTo>
                <a:lnTo>
                  <a:pt x="8354374" y="3427256"/>
                </a:lnTo>
                <a:lnTo>
                  <a:pt x="6348413"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1" y="592280"/>
            <a:ext cx="8605613"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0" y="1825625"/>
            <a:ext cx="841707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4" y="6542763"/>
            <a:ext cx="2743200" cy="230832"/>
          </a:xfrm>
          <a:prstGeom prst="rect">
            <a:avLst/>
          </a:prstGeom>
        </p:spPr>
        <p:txBody>
          <a:bodyPr/>
          <a:lstStyle/>
          <a:p>
            <a:fld id="{337A6863-5A86-4F07-9873-40630F65EAA8}"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3"/>
            <a:ext cx="7034695" cy="230832"/>
          </a:xfrm>
        </p:spPr>
        <p:txBody>
          <a:bodyPr/>
          <a:lstStyle/>
          <a:p>
            <a:pPr algn="l"/>
            <a:r>
              <a:rPr lang="en-US"/>
              <a:t>Document title or footer</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p:txBody>
          <a:bodyPr/>
          <a:lstStyle/>
          <a:p>
            <a:fld id="{50A6C693-FA55-4929-8F02-9C5C1D56A297}" type="slidenum">
              <a:rPr lang="en-US" smtClean="0"/>
              <a:t>‹#›</a:t>
            </a:fld>
            <a:endParaRPr lang="en-US"/>
          </a:p>
        </p:txBody>
      </p:sp>
      <p:grpSp>
        <p:nvGrpSpPr>
          <p:cNvPr id="12" name="object 2">
            <a:extLst>
              <a:ext uri="{FF2B5EF4-FFF2-40B4-BE49-F238E27FC236}">
                <a16:creationId xmlns:a16="http://schemas.microsoft.com/office/drawing/2014/main" id="{9B2C40CF-D98D-4B7D-A796-0016DB0A5A86}"/>
              </a:ext>
            </a:extLst>
          </p:cNvPr>
          <p:cNvGrpSpPr/>
          <p:nvPr userDrawn="1"/>
        </p:nvGrpSpPr>
        <p:grpSpPr>
          <a:xfrm>
            <a:off x="11002424" y="0"/>
            <a:ext cx="1163955" cy="1342390"/>
            <a:chOff x="11002424" y="0"/>
            <a:chExt cx="1163955" cy="1342390"/>
          </a:xfrm>
        </p:grpSpPr>
        <p:sp>
          <p:nvSpPr>
            <p:cNvPr id="13" name="object 3">
              <a:extLst>
                <a:ext uri="{FF2B5EF4-FFF2-40B4-BE49-F238E27FC236}">
                  <a16:creationId xmlns:a16="http://schemas.microsoft.com/office/drawing/2014/main" id="{111A2339-632B-4D9D-AFF5-BBC5D857EBCC}"/>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4" name="object 4">
              <a:extLst>
                <a:ext uri="{FF2B5EF4-FFF2-40B4-BE49-F238E27FC236}">
                  <a16:creationId xmlns:a16="http://schemas.microsoft.com/office/drawing/2014/main" id="{6317CBFF-903A-42DA-88B7-89C352A346E8}"/>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1961836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4">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10058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7">
            <a:extLst>
              <a:ext uri="{FF2B5EF4-FFF2-40B4-BE49-F238E27FC236}">
                <a16:creationId xmlns:a16="http://schemas.microsoft.com/office/drawing/2014/main" id="{692A6211-3B69-4CB9-8CDF-ADC2E6B37D55}"/>
              </a:ext>
            </a:extLst>
          </p:cNvPr>
          <p:cNvSpPr/>
          <p:nvPr userDrawn="1"/>
        </p:nvSpPr>
        <p:spPr>
          <a:xfrm>
            <a:off x="6612242" y="0"/>
            <a:ext cx="5571744" cy="6354072"/>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1" name="object 9">
            <a:extLst>
              <a:ext uri="{FF2B5EF4-FFF2-40B4-BE49-F238E27FC236}">
                <a16:creationId xmlns:a16="http://schemas.microsoft.com/office/drawing/2014/main" id="{67034B3B-3A8B-4429-A776-B20E5CB0580A}"/>
              </a:ext>
            </a:extLst>
          </p:cNvPr>
          <p:cNvSpPr/>
          <p:nvPr userDrawn="1"/>
        </p:nvSpPr>
        <p:spPr>
          <a:xfrm>
            <a:off x="6665480" y="0"/>
            <a:ext cx="3595263" cy="4074887"/>
          </a:xfrm>
          <a:custGeom>
            <a:avLst/>
            <a:gdLst>
              <a:gd name="connsiteX0" fmla="*/ 2432486 w 3595263"/>
              <a:gd name="connsiteY0" fmla="*/ 4074887 h 4074887"/>
              <a:gd name="connsiteX1" fmla="*/ 0 w 3595263"/>
              <a:gd name="connsiteY1" fmla="*/ 4 h 4074887"/>
              <a:gd name="connsiteX2" fmla="*/ 2342412 w 3595263"/>
              <a:gd name="connsiteY2" fmla="*/ 0 h 4074887"/>
              <a:gd name="connsiteX3" fmla="*/ 3595263 w 3595263"/>
              <a:gd name="connsiteY3" fmla="*/ 2112990 h 4074887"/>
              <a:gd name="connsiteX4" fmla="*/ 2432486 w 3595263"/>
              <a:gd name="connsiteY4" fmla="*/ 4074887 h 407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263" h="4074887">
                <a:moveTo>
                  <a:pt x="2432486" y="4074887"/>
                </a:moveTo>
                <a:lnTo>
                  <a:pt x="0" y="4"/>
                </a:lnTo>
                <a:lnTo>
                  <a:pt x="2342412" y="0"/>
                </a:lnTo>
                <a:lnTo>
                  <a:pt x="3595263" y="2112990"/>
                </a:lnTo>
                <a:lnTo>
                  <a:pt x="2432486" y="4074887"/>
                </a:lnTo>
                <a:close/>
              </a:path>
            </a:pathLst>
          </a:custGeom>
          <a:solidFill>
            <a:srgbClr val="83DBD5"/>
          </a:solidFill>
        </p:spPr>
        <p:txBody>
          <a:bodyPr wrap="square" lIns="0" tIns="0" rIns="0" bIns="0" rtlCol="0"/>
          <a:lstStyle/>
          <a:p>
            <a:endParaRPr/>
          </a:p>
        </p:txBody>
      </p:sp>
      <p:sp>
        <p:nvSpPr>
          <p:cNvPr id="10" name="Rektangel 3">
            <a:extLst>
              <a:ext uri="{FF2B5EF4-FFF2-40B4-BE49-F238E27FC236}">
                <a16:creationId xmlns:a16="http://schemas.microsoft.com/office/drawing/2014/main" id="{B96D7DA5-7262-4757-804D-45359B7DD73F}"/>
              </a:ext>
            </a:extLst>
          </p:cNvPr>
          <p:cNvSpPr/>
          <p:nvPr userDrawn="1"/>
        </p:nvSpPr>
        <p:spPr>
          <a:xfrm>
            <a:off x="649674" y="0"/>
            <a:ext cx="9805825" cy="6354072"/>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 name="connsiteX0" fmla="*/ 0 w 10090927"/>
              <a:gd name="connsiteY0" fmla="*/ 0 h 6858000"/>
              <a:gd name="connsiteX1" fmla="*/ 6348413 w 10090927"/>
              <a:gd name="connsiteY1" fmla="*/ 0 h 6858000"/>
              <a:gd name="connsiteX2" fmla="*/ 8354374 w 10090927"/>
              <a:gd name="connsiteY2" fmla="*/ 3427256 h 6858000"/>
              <a:gd name="connsiteX3" fmla="*/ 10090927 w 10090927"/>
              <a:gd name="connsiteY3" fmla="*/ 6848451 h 6858000"/>
              <a:gd name="connsiteX4" fmla="*/ 0 w 10090927"/>
              <a:gd name="connsiteY4" fmla="*/ 6858000 h 6858000"/>
              <a:gd name="connsiteX5" fmla="*/ 0 w 10090927"/>
              <a:gd name="connsiteY5" fmla="*/ 0 h 6858000"/>
              <a:gd name="connsiteX0" fmla="*/ 0 w 10332980"/>
              <a:gd name="connsiteY0" fmla="*/ 0 h 6867548"/>
              <a:gd name="connsiteX1" fmla="*/ 6348413 w 10332980"/>
              <a:gd name="connsiteY1" fmla="*/ 0 h 6867548"/>
              <a:gd name="connsiteX2" fmla="*/ 8354374 w 10332980"/>
              <a:gd name="connsiteY2" fmla="*/ 3427256 h 6867548"/>
              <a:gd name="connsiteX3" fmla="*/ 10332980 w 10332980"/>
              <a:gd name="connsiteY3" fmla="*/ 6867548 h 6867548"/>
              <a:gd name="connsiteX4" fmla="*/ 0 w 10332980"/>
              <a:gd name="connsiteY4" fmla="*/ 6858000 h 6867548"/>
              <a:gd name="connsiteX5" fmla="*/ 0 w 10332980"/>
              <a:gd name="connsiteY5" fmla="*/ 0 h 68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2980" h="6867548">
                <a:moveTo>
                  <a:pt x="0" y="0"/>
                </a:moveTo>
                <a:lnTo>
                  <a:pt x="6348413" y="0"/>
                </a:lnTo>
                <a:lnTo>
                  <a:pt x="8354374" y="3427256"/>
                </a:lnTo>
                <a:lnTo>
                  <a:pt x="10332980" y="6867548"/>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1" y="592280"/>
            <a:ext cx="6375400"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1" y="1825625"/>
            <a:ext cx="717053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4" y="6542763"/>
            <a:ext cx="2743200" cy="230832"/>
          </a:xfrm>
          <a:prstGeom prst="rect">
            <a:avLst/>
          </a:prstGeom>
        </p:spPr>
        <p:txBody>
          <a:bodyPr/>
          <a:lstStyle/>
          <a:p>
            <a:fld id="{41669FF0-510A-4315-BBB9-5C9C8716B85F}"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3"/>
            <a:ext cx="7034695" cy="230832"/>
          </a:xfrm>
        </p:spPr>
        <p:txBody>
          <a:bodyPr/>
          <a:lstStyle/>
          <a:p>
            <a:pPr algn="l"/>
            <a:r>
              <a:rPr lang="en-US"/>
              <a:t>Document title or footer</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p:txBody>
          <a:bodyPr/>
          <a:lstStyle/>
          <a:p>
            <a:fld id="{50A6C693-FA55-4929-8F02-9C5C1D56A297}" type="slidenum">
              <a:rPr lang="en-US" smtClean="0"/>
              <a:t>‹#›</a:t>
            </a:fld>
            <a:endParaRPr lang="en-US"/>
          </a:p>
        </p:txBody>
      </p:sp>
      <p:grpSp>
        <p:nvGrpSpPr>
          <p:cNvPr id="13" name="object 2">
            <a:extLst>
              <a:ext uri="{FF2B5EF4-FFF2-40B4-BE49-F238E27FC236}">
                <a16:creationId xmlns:a16="http://schemas.microsoft.com/office/drawing/2014/main" id="{115CF2FC-6878-48F8-BA93-F5DF431ABC59}"/>
              </a:ext>
            </a:extLst>
          </p:cNvPr>
          <p:cNvGrpSpPr/>
          <p:nvPr userDrawn="1"/>
        </p:nvGrpSpPr>
        <p:grpSpPr>
          <a:xfrm>
            <a:off x="11002424" y="0"/>
            <a:ext cx="1163955" cy="1342390"/>
            <a:chOff x="11002424" y="0"/>
            <a:chExt cx="1163955" cy="1342390"/>
          </a:xfrm>
        </p:grpSpPr>
        <p:sp>
          <p:nvSpPr>
            <p:cNvPr id="14" name="object 3">
              <a:extLst>
                <a:ext uri="{FF2B5EF4-FFF2-40B4-BE49-F238E27FC236}">
                  <a16:creationId xmlns:a16="http://schemas.microsoft.com/office/drawing/2014/main" id="{4C14E5FF-9A48-4390-BAFB-FA45908AB006}"/>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5" name="object 4">
              <a:extLst>
                <a:ext uri="{FF2B5EF4-FFF2-40B4-BE49-F238E27FC236}">
                  <a16:creationId xmlns:a16="http://schemas.microsoft.com/office/drawing/2014/main" id="{573B2125-574C-4492-B472-573DBEBE192E}"/>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8668572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392081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descr="A picture containing water, outdoor, boat, nature&#10;&#10;Description automatically generated">
            <a:extLst>
              <a:ext uri="{FF2B5EF4-FFF2-40B4-BE49-F238E27FC236}">
                <a16:creationId xmlns:a16="http://schemas.microsoft.com/office/drawing/2014/main" id="{EC527E98-0E28-4BED-9492-6794AFE5484B}"/>
              </a:ext>
            </a:extLst>
          </p:cNvPr>
          <p:cNvPicPr>
            <a:picLocks noChangeAspect="1"/>
          </p:cNvPicPr>
          <p:nvPr userDrawn="1"/>
        </p:nvPicPr>
        <p:blipFill rotWithShape="1">
          <a:blip r:embed="rId5">
            <a:extLst>
              <a:ext uri="{28A0092B-C50C-407E-A947-70E740481C1C}">
                <a14:useLocalDpi xmlns:a14="http://schemas.microsoft.com/office/drawing/2010/main"/>
              </a:ext>
            </a:extLst>
          </a:blip>
          <a:srcRect l="11413"/>
          <a:stretch/>
        </p:blipFill>
        <p:spPr>
          <a:xfrm>
            <a:off x="0" y="0"/>
            <a:ext cx="9831638" cy="6354072"/>
          </a:xfrm>
          <a:prstGeom prst="rect">
            <a:avLst/>
          </a:prstGeom>
        </p:spPr>
      </p:pic>
      <p:sp>
        <p:nvSpPr>
          <p:cNvPr id="10" name="Rektangel 3">
            <a:extLst>
              <a:ext uri="{FF2B5EF4-FFF2-40B4-BE49-F238E27FC236}">
                <a16:creationId xmlns:a16="http://schemas.microsoft.com/office/drawing/2014/main" id="{B96D7DA5-7262-4757-804D-45359B7DD73F}"/>
              </a:ext>
            </a:extLst>
          </p:cNvPr>
          <p:cNvSpPr/>
          <p:nvPr userDrawn="1"/>
        </p:nvSpPr>
        <p:spPr>
          <a:xfrm flipH="1" flipV="1">
            <a:off x="2386174" y="0"/>
            <a:ext cx="9805825" cy="6354072"/>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 name="connsiteX0" fmla="*/ 0 w 10090927"/>
              <a:gd name="connsiteY0" fmla="*/ 0 h 6858000"/>
              <a:gd name="connsiteX1" fmla="*/ 6348413 w 10090927"/>
              <a:gd name="connsiteY1" fmla="*/ 0 h 6858000"/>
              <a:gd name="connsiteX2" fmla="*/ 8354374 w 10090927"/>
              <a:gd name="connsiteY2" fmla="*/ 3427256 h 6858000"/>
              <a:gd name="connsiteX3" fmla="*/ 10090927 w 10090927"/>
              <a:gd name="connsiteY3" fmla="*/ 6848451 h 6858000"/>
              <a:gd name="connsiteX4" fmla="*/ 0 w 10090927"/>
              <a:gd name="connsiteY4" fmla="*/ 6858000 h 6858000"/>
              <a:gd name="connsiteX5" fmla="*/ 0 w 10090927"/>
              <a:gd name="connsiteY5" fmla="*/ 0 h 6858000"/>
              <a:gd name="connsiteX0" fmla="*/ 0 w 10332980"/>
              <a:gd name="connsiteY0" fmla="*/ 0 h 6867548"/>
              <a:gd name="connsiteX1" fmla="*/ 6348413 w 10332980"/>
              <a:gd name="connsiteY1" fmla="*/ 0 h 6867548"/>
              <a:gd name="connsiteX2" fmla="*/ 8354374 w 10332980"/>
              <a:gd name="connsiteY2" fmla="*/ 3427256 h 6867548"/>
              <a:gd name="connsiteX3" fmla="*/ 10332980 w 10332980"/>
              <a:gd name="connsiteY3" fmla="*/ 6867548 h 6867548"/>
              <a:gd name="connsiteX4" fmla="*/ 0 w 10332980"/>
              <a:gd name="connsiteY4" fmla="*/ 6858000 h 6867548"/>
              <a:gd name="connsiteX5" fmla="*/ 0 w 10332980"/>
              <a:gd name="connsiteY5" fmla="*/ 0 h 68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2980" h="6867548">
                <a:moveTo>
                  <a:pt x="0" y="0"/>
                </a:moveTo>
                <a:lnTo>
                  <a:pt x="6348413" y="0"/>
                </a:lnTo>
                <a:lnTo>
                  <a:pt x="8354374" y="3427256"/>
                </a:lnTo>
                <a:lnTo>
                  <a:pt x="10332980" y="6867548"/>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object 9">
            <a:extLst>
              <a:ext uri="{FF2B5EF4-FFF2-40B4-BE49-F238E27FC236}">
                <a16:creationId xmlns:a16="http://schemas.microsoft.com/office/drawing/2014/main" id="{67034B3B-3A8B-4429-A776-B20E5CB0580A}"/>
              </a:ext>
            </a:extLst>
          </p:cNvPr>
          <p:cNvSpPr/>
          <p:nvPr userDrawn="1"/>
        </p:nvSpPr>
        <p:spPr>
          <a:xfrm>
            <a:off x="2360362" y="0"/>
            <a:ext cx="3595263" cy="4074887"/>
          </a:xfrm>
          <a:custGeom>
            <a:avLst/>
            <a:gdLst>
              <a:gd name="connsiteX0" fmla="*/ 2432486 w 3595263"/>
              <a:gd name="connsiteY0" fmla="*/ 4074887 h 4074887"/>
              <a:gd name="connsiteX1" fmla="*/ 0 w 3595263"/>
              <a:gd name="connsiteY1" fmla="*/ 4 h 4074887"/>
              <a:gd name="connsiteX2" fmla="*/ 2342412 w 3595263"/>
              <a:gd name="connsiteY2" fmla="*/ 0 h 4074887"/>
              <a:gd name="connsiteX3" fmla="*/ 3595263 w 3595263"/>
              <a:gd name="connsiteY3" fmla="*/ 2112990 h 4074887"/>
              <a:gd name="connsiteX4" fmla="*/ 2432486 w 3595263"/>
              <a:gd name="connsiteY4" fmla="*/ 4074887 h 407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263" h="4074887">
                <a:moveTo>
                  <a:pt x="2432486" y="4074887"/>
                </a:moveTo>
                <a:lnTo>
                  <a:pt x="0" y="4"/>
                </a:lnTo>
                <a:lnTo>
                  <a:pt x="2342412" y="0"/>
                </a:lnTo>
                <a:lnTo>
                  <a:pt x="3595263" y="2112990"/>
                </a:lnTo>
                <a:lnTo>
                  <a:pt x="2432486" y="4074887"/>
                </a:lnTo>
                <a:close/>
              </a:path>
            </a:pathLst>
          </a:custGeom>
          <a:solidFill>
            <a:srgbClr val="83DBD5"/>
          </a:solidFill>
        </p:spPr>
        <p:txBody>
          <a:bodyPr wrap="square" lIns="0" tIns="0" rIns="0" bIns="0" rtlCol="0"/>
          <a:lstStyle/>
          <a:p>
            <a:endParaRPr/>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6410739" y="592280"/>
            <a:ext cx="5085936" cy="978729"/>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6410739" y="1825625"/>
            <a:ext cx="508593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4" y="6542763"/>
            <a:ext cx="2743200" cy="230832"/>
          </a:xfrm>
          <a:prstGeom prst="rect">
            <a:avLst/>
          </a:prstGeom>
        </p:spPr>
        <p:txBody>
          <a:bodyPr/>
          <a:lstStyle/>
          <a:p>
            <a:fld id="{303D49EE-18AC-4053-AC8E-52F556116172}"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3"/>
            <a:ext cx="7034695" cy="230832"/>
          </a:xfrm>
        </p:spPr>
        <p:txBody>
          <a:bodyPr/>
          <a:lstStyle/>
          <a:p>
            <a:pPr algn="l"/>
            <a:r>
              <a:rPr lang="en-US"/>
              <a:t>Document title or footer</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p:txBody>
          <a:bodyPr/>
          <a:lstStyle/>
          <a:p>
            <a:fld id="{50A6C693-FA55-4929-8F02-9C5C1D56A297}" type="slidenum">
              <a:rPr lang="en-US" smtClean="0"/>
              <a:t>‹#›</a:t>
            </a:fld>
            <a:endParaRPr lang="en-US"/>
          </a:p>
        </p:txBody>
      </p:sp>
      <p:grpSp>
        <p:nvGrpSpPr>
          <p:cNvPr id="15" name="object 2">
            <a:extLst>
              <a:ext uri="{FF2B5EF4-FFF2-40B4-BE49-F238E27FC236}">
                <a16:creationId xmlns:a16="http://schemas.microsoft.com/office/drawing/2014/main" id="{577D36EE-7AB3-4AC4-AF43-498852CEB7E1}"/>
              </a:ext>
            </a:extLst>
          </p:cNvPr>
          <p:cNvGrpSpPr/>
          <p:nvPr userDrawn="1"/>
        </p:nvGrpSpPr>
        <p:grpSpPr>
          <a:xfrm>
            <a:off x="11002424" y="0"/>
            <a:ext cx="1163955" cy="1342390"/>
            <a:chOff x="11002424" y="0"/>
            <a:chExt cx="1163955" cy="1342390"/>
          </a:xfrm>
        </p:grpSpPr>
        <p:sp>
          <p:nvSpPr>
            <p:cNvPr id="16" name="object 3">
              <a:extLst>
                <a:ext uri="{FF2B5EF4-FFF2-40B4-BE49-F238E27FC236}">
                  <a16:creationId xmlns:a16="http://schemas.microsoft.com/office/drawing/2014/main" id="{FB273F06-E64C-45A6-B40D-84B3E148FA40}"/>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7" name="object 4">
              <a:extLst>
                <a:ext uri="{FF2B5EF4-FFF2-40B4-BE49-F238E27FC236}">
                  <a16:creationId xmlns:a16="http://schemas.microsoft.com/office/drawing/2014/main" id="{41718492-8899-4C55-A145-B35BD2645E47}"/>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8274992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96A04-7D14-4DB2-BFF0-87DADA0F620A}"/>
              </a:ext>
            </a:extLst>
          </p:cNvPr>
          <p:cNvGraphicFramePr>
            <a:graphicFrameLocks noChangeAspect="1"/>
          </p:cNvGraphicFramePr>
          <p:nvPr userDrawn="1">
            <p:custDataLst>
              <p:tags r:id="rId1"/>
            </p:custDataLst>
            <p:extLst>
              <p:ext uri="{D42A27DB-BD31-4B8C-83A1-F6EECF244321}">
                <p14:modId xmlns:p14="http://schemas.microsoft.com/office/powerpoint/2010/main" val="394579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7" name="Object 6" hidden="1">
                        <a:extLst>
                          <a:ext uri="{FF2B5EF4-FFF2-40B4-BE49-F238E27FC236}">
                            <a16:creationId xmlns:a16="http://schemas.microsoft.com/office/drawing/2014/main" id="{5F896A04-7D14-4DB2-BFF0-87DADA0F6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BC6BAC-50DB-4B44-B925-B3398F818623}"/>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D3527A5-58C1-4AF5-B0DD-3B382B532379}"/>
              </a:ext>
            </a:extLst>
          </p:cNvPr>
          <p:cNvSpPr>
            <a:spLocks noGrp="1"/>
          </p:cNvSpPr>
          <p:nvPr>
            <p:ph type="dt" sz="half" idx="10"/>
          </p:nvPr>
        </p:nvSpPr>
        <p:spPr>
          <a:xfrm>
            <a:off x="8603974" y="6542763"/>
            <a:ext cx="2743200" cy="230832"/>
          </a:xfrm>
          <a:prstGeom prst="rect">
            <a:avLst/>
          </a:prstGeom>
        </p:spPr>
        <p:txBody>
          <a:bodyPr/>
          <a:lstStyle/>
          <a:p>
            <a:fld id="{828BE6AE-0F1A-4D81-A72B-DA21AB766351}" type="datetime1">
              <a:rPr lang="en-US" smtClean="0"/>
              <a:t>1/18/26</a:t>
            </a:fld>
            <a:endParaRPr lang="en-US"/>
          </a:p>
        </p:txBody>
      </p:sp>
      <p:sp>
        <p:nvSpPr>
          <p:cNvPr id="4" name="Footer Placeholder 3">
            <a:extLst>
              <a:ext uri="{FF2B5EF4-FFF2-40B4-BE49-F238E27FC236}">
                <a16:creationId xmlns:a16="http://schemas.microsoft.com/office/drawing/2014/main" id="{443C410D-7FAA-4C2B-B343-2BFFCC1FE49C}"/>
              </a:ext>
            </a:extLst>
          </p:cNvPr>
          <p:cNvSpPr>
            <a:spLocks noGrp="1"/>
          </p:cNvSpPr>
          <p:nvPr>
            <p:ph type="ftr" sz="quarter" idx="11"/>
          </p:nvPr>
        </p:nvSpPr>
        <p:spPr/>
        <p:txBody>
          <a:bodyPr/>
          <a:lstStyle/>
          <a:p>
            <a:pPr algn="l"/>
            <a:r>
              <a:rPr lang="en-US"/>
              <a:t>Document title or footer</a:t>
            </a:r>
          </a:p>
        </p:txBody>
      </p:sp>
      <p:sp>
        <p:nvSpPr>
          <p:cNvPr id="5" name="Slide Number Placeholder 4">
            <a:extLst>
              <a:ext uri="{FF2B5EF4-FFF2-40B4-BE49-F238E27FC236}">
                <a16:creationId xmlns:a16="http://schemas.microsoft.com/office/drawing/2014/main" id="{3686CF31-48B3-4F31-99E2-CB750DC90B48}"/>
              </a:ext>
            </a:extLst>
          </p:cNvPr>
          <p:cNvSpPr>
            <a:spLocks noGrp="1"/>
          </p:cNvSpPr>
          <p:nvPr>
            <p:ph type="sldNum" sz="quarter" idx="12"/>
          </p:nvPr>
        </p:nvSpPr>
        <p:spPr/>
        <p:txBody>
          <a:bodyPr/>
          <a:lstStyle/>
          <a:p>
            <a:fld id="{50A6C693-FA55-4929-8F02-9C5C1D56A297}" type="slidenum">
              <a:rPr lang="en-US" smtClean="0"/>
              <a:t>‹#›</a:t>
            </a:fld>
            <a:endParaRPr lang="en-US"/>
          </a:p>
        </p:txBody>
      </p:sp>
    </p:spTree>
    <p:extLst>
      <p:ext uri="{BB962C8B-B14F-4D97-AF65-F5344CB8AC3E}">
        <p14:creationId xmlns:p14="http://schemas.microsoft.com/office/powerpoint/2010/main" val="10311167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ew Hire">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EF5961F3-7860-4F1F-A137-4C2074BF4F2E}"/>
              </a:ext>
            </a:extLst>
          </p:cNvPr>
          <p:cNvGraphicFramePr>
            <a:graphicFrameLocks noChangeAspect="1"/>
          </p:cNvGraphicFramePr>
          <p:nvPr userDrawn="1">
            <p:custDataLst>
              <p:tags r:id="rId1"/>
            </p:custDataLst>
            <p:extLst>
              <p:ext uri="{D42A27DB-BD31-4B8C-83A1-F6EECF244321}">
                <p14:modId xmlns:p14="http://schemas.microsoft.com/office/powerpoint/2010/main" val="2738752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16" name="Object 15" hidden="1">
                        <a:extLst>
                          <a:ext uri="{FF2B5EF4-FFF2-40B4-BE49-F238E27FC236}">
                            <a16:creationId xmlns:a16="http://schemas.microsoft.com/office/drawing/2014/main" id="{EF5961F3-7860-4F1F-A137-4C2074BF4F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35C38C-DB6F-48E6-B150-A94509F05116}"/>
              </a:ext>
            </a:extLst>
          </p:cNvPr>
          <p:cNvSpPr>
            <a:spLocks noGrp="1"/>
          </p:cNvSpPr>
          <p:nvPr>
            <p:ph type="title" hasCustomPrompt="1"/>
          </p:nvPr>
        </p:nvSpPr>
        <p:spPr/>
        <p:txBody>
          <a:bodyPr vert="horz"/>
          <a:lstStyle>
            <a:lvl1pPr>
              <a:defRPr/>
            </a:lvl1pPr>
          </a:lstStyle>
          <a:p>
            <a:r>
              <a:rPr lang="en-US"/>
              <a:t>Click to enter position</a:t>
            </a:r>
          </a:p>
        </p:txBody>
      </p:sp>
      <p:sp>
        <p:nvSpPr>
          <p:cNvPr id="3" name="Date Placeholder 2">
            <a:extLst>
              <a:ext uri="{FF2B5EF4-FFF2-40B4-BE49-F238E27FC236}">
                <a16:creationId xmlns:a16="http://schemas.microsoft.com/office/drawing/2014/main" id="{11516883-B1D6-4143-A3F1-132A5FB18ADA}"/>
              </a:ext>
            </a:extLst>
          </p:cNvPr>
          <p:cNvSpPr>
            <a:spLocks noGrp="1"/>
          </p:cNvSpPr>
          <p:nvPr>
            <p:ph type="dt" sz="half" idx="10"/>
          </p:nvPr>
        </p:nvSpPr>
        <p:spPr/>
        <p:txBody>
          <a:bodyPr/>
          <a:lstStyle/>
          <a:p>
            <a:pPr algn="r"/>
            <a:fld id="{7C275FE5-5FB1-463C-B683-4B94E427539C}" type="datetime1">
              <a:rPr lang="en-US" smtClean="0"/>
              <a:t>1/18/26</a:t>
            </a:fld>
            <a:endParaRPr lang="en-US"/>
          </a:p>
        </p:txBody>
      </p:sp>
      <p:sp>
        <p:nvSpPr>
          <p:cNvPr id="4" name="Footer Placeholder 3">
            <a:extLst>
              <a:ext uri="{FF2B5EF4-FFF2-40B4-BE49-F238E27FC236}">
                <a16:creationId xmlns:a16="http://schemas.microsoft.com/office/drawing/2014/main" id="{4AE48286-3C57-4294-8153-EC5BEC2E60A6}"/>
              </a:ext>
            </a:extLst>
          </p:cNvPr>
          <p:cNvSpPr>
            <a:spLocks noGrp="1"/>
          </p:cNvSpPr>
          <p:nvPr>
            <p:ph type="ftr" sz="quarter" idx="11"/>
          </p:nvPr>
        </p:nvSpPr>
        <p:spPr/>
        <p:txBody>
          <a:bodyPr/>
          <a:lstStyle/>
          <a:p>
            <a:pPr algn="l"/>
            <a:r>
              <a:rPr lang="en-US"/>
              <a:t>Document title or footer</a:t>
            </a:r>
          </a:p>
        </p:txBody>
      </p:sp>
      <p:sp>
        <p:nvSpPr>
          <p:cNvPr id="5" name="Slide Number Placeholder 4">
            <a:extLst>
              <a:ext uri="{FF2B5EF4-FFF2-40B4-BE49-F238E27FC236}">
                <a16:creationId xmlns:a16="http://schemas.microsoft.com/office/drawing/2014/main" id="{8BC3118E-26DF-4C3A-AAD8-59B36A541F13}"/>
              </a:ext>
            </a:extLst>
          </p:cNvPr>
          <p:cNvSpPr>
            <a:spLocks noGrp="1"/>
          </p:cNvSpPr>
          <p:nvPr>
            <p:ph type="sldNum" sz="quarter" idx="12"/>
          </p:nvPr>
        </p:nvSpPr>
        <p:spPr/>
        <p:txBody>
          <a:bodyPr/>
          <a:lstStyle/>
          <a:p>
            <a:pPr algn="l"/>
            <a:fld id="{50A6C693-FA55-4929-8F02-9C5C1D56A297}" type="slidenum">
              <a:rPr lang="en-US" smtClean="0"/>
              <a:pPr algn="l"/>
              <a:t>‹#›</a:t>
            </a:fld>
            <a:endParaRPr lang="en-US"/>
          </a:p>
        </p:txBody>
      </p:sp>
      <p:sp>
        <p:nvSpPr>
          <p:cNvPr id="8" name="TextBox 7">
            <a:extLst>
              <a:ext uri="{FF2B5EF4-FFF2-40B4-BE49-F238E27FC236}">
                <a16:creationId xmlns:a16="http://schemas.microsoft.com/office/drawing/2014/main" id="{07F7B68F-9247-4D1B-9A5B-97EE0B30DD53}"/>
              </a:ext>
            </a:extLst>
          </p:cNvPr>
          <p:cNvSpPr txBox="1"/>
          <p:nvPr userDrawn="1"/>
        </p:nvSpPr>
        <p:spPr>
          <a:xfrm>
            <a:off x="4399874" y="1998098"/>
            <a:ext cx="3381348" cy="338554"/>
          </a:xfrm>
          <a:prstGeom prst="rect">
            <a:avLst/>
          </a:prstGeom>
          <a:noFill/>
        </p:spPr>
        <p:txBody>
          <a:bodyPr wrap="square" rtlCol="0">
            <a:spAutoFit/>
          </a:bodyPr>
          <a:lstStyle/>
          <a:p>
            <a:pPr algn="l"/>
            <a:r>
              <a:rPr lang="en-US" sz="1600" b="1">
                <a:solidFill>
                  <a:schemeClr val="tx1"/>
                </a:solidFill>
              </a:rPr>
              <a:t>Experience</a:t>
            </a:r>
          </a:p>
        </p:txBody>
      </p:sp>
      <p:sp>
        <p:nvSpPr>
          <p:cNvPr id="10" name="TextBox 9">
            <a:extLst>
              <a:ext uri="{FF2B5EF4-FFF2-40B4-BE49-F238E27FC236}">
                <a16:creationId xmlns:a16="http://schemas.microsoft.com/office/drawing/2014/main" id="{438253B2-F8C1-4FB0-8CFB-4ED33E70540F}"/>
              </a:ext>
            </a:extLst>
          </p:cNvPr>
          <p:cNvSpPr txBox="1"/>
          <p:nvPr userDrawn="1"/>
        </p:nvSpPr>
        <p:spPr>
          <a:xfrm>
            <a:off x="8115326" y="1998098"/>
            <a:ext cx="3381348" cy="338554"/>
          </a:xfrm>
          <a:prstGeom prst="rect">
            <a:avLst/>
          </a:prstGeom>
          <a:noFill/>
        </p:spPr>
        <p:txBody>
          <a:bodyPr wrap="square" rtlCol="0">
            <a:spAutoFit/>
          </a:bodyPr>
          <a:lstStyle/>
          <a:p>
            <a:pPr algn="l"/>
            <a:r>
              <a:rPr lang="en-US" sz="1600" b="1">
                <a:solidFill>
                  <a:schemeClr val="tx1"/>
                </a:solidFill>
              </a:rPr>
              <a:t>Education</a:t>
            </a:r>
          </a:p>
        </p:txBody>
      </p:sp>
      <p:cxnSp>
        <p:nvCxnSpPr>
          <p:cNvPr id="12" name="Straight Connector 11">
            <a:extLst>
              <a:ext uri="{FF2B5EF4-FFF2-40B4-BE49-F238E27FC236}">
                <a16:creationId xmlns:a16="http://schemas.microsoft.com/office/drawing/2014/main" id="{344AC789-B4F5-4ACA-BCFB-59E87C60089E}"/>
              </a:ext>
            </a:extLst>
          </p:cNvPr>
          <p:cNvCxnSpPr>
            <a:cxnSpLocks/>
          </p:cNvCxnSpPr>
          <p:nvPr userDrawn="1"/>
        </p:nvCxnSpPr>
        <p:spPr>
          <a:xfrm>
            <a:off x="7929587" y="2425937"/>
            <a:ext cx="0" cy="32465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9CAE3DA8-D3BC-4B8E-B229-FE10B2048424}"/>
              </a:ext>
            </a:extLst>
          </p:cNvPr>
          <p:cNvSpPr>
            <a:spLocks noGrp="1"/>
          </p:cNvSpPr>
          <p:nvPr>
            <p:ph type="body" sz="quarter" idx="13" hasCustomPrompt="1"/>
          </p:nvPr>
        </p:nvSpPr>
        <p:spPr>
          <a:xfrm>
            <a:off x="4399874" y="2425937"/>
            <a:ext cx="3343973" cy="338554"/>
          </a:xfrm>
        </p:spPr>
        <p:txBody>
          <a:bodyPr/>
          <a:lstStyle>
            <a:lvl1pPr>
              <a:defRPr/>
            </a:lvl1pPr>
          </a:lstStyle>
          <a:p>
            <a:pPr lvl="0"/>
            <a:r>
              <a:rPr lang="en-US"/>
              <a:t>Click to enter experience</a:t>
            </a:r>
          </a:p>
        </p:txBody>
      </p:sp>
      <p:sp>
        <p:nvSpPr>
          <p:cNvPr id="22" name="Text Placeholder 13">
            <a:extLst>
              <a:ext uri="{FF2B5EF4-FFF2-40B4-BE49-F238E27FC236}">
                <a16:creationId xmlns:a16="http://schemas.microsoft.com/office/drawing/2014/main" id="{866A3463-72E3-4782-B424-2DCCA87808B0}"/>
              </a:ext>
            </a:extLst>
          </p:cNvPr>
          <p:cNvSpPr>
            <a:spLocks noGrp="1"/>
          </p:cNvSpPr>
          <p:nvPr>
            <p:ph type="body" sz="quarter" idx="14" hasCustomPrompt="1"/>
          </p:nvPr>
        </p:nvSpPr>
        <p:spPr>
          <a:xfrm>
            <a:off x="8115326" y="2425937"/>
            <a:ext cx="3159132" cy="338554"/>
          </a:xfrm>
        </p:spPr>
        <p:txBody>
          <a:bodyPr/>
          <a:lstStyle>
            <a:lvl1pPr>
              <a:defRPr/>
            </a:lvl1pPr>
          </a:lstStyle>
          <a:p>
            <a:pPr lvl="0"/>
            <a:r>
              <a:rPr lang="en-US"/>
              <a:t>Click to enter experience</a:t>
            </a:r>
          </a:p>
        </p:txBody>
      </p:sp>
      <p:sp>
        <p:nvSpPr>
          <p:cNvPr id="24" name="Text Placeholder 23">
            <a:extLst>
              <a:ext uri="{FF2B5EF4-FFF2-40B4-BE49-F238E27FC236}">
                <a16:creationId xmlns:a16="http://schemas.microsoft.com/office/drawing/2014/main" id="{395B33E1-3975-4309-B266-A4A04C063722}"/>
              </a:ext>
            </a:extLst>
          </p:cNvPr>
          <p:cNvSpPr>
            <a:spLocks noGrp="1"/>
          </p:cNvSpPr>
          <p:nvPr>
            <p:ph type="body" sz="quarter" idx="15" hasCustomPrompt="1"/>
          </p:nvPr>
        </p:nvSpPr>
        <p:spPr>
          <a:xfrm>
            <a:off x="600075" y="1998098"/>
            <a:ext cx="3341688" cy="338554"/>
          </a:xfrm>
        </p:spPr>
        <p:txBody>
          <a:bodyPr/>
          <a:lstStyle>
            <a:lvl1pPr marL="0" indent="0">
              <a:buNone/>
              <a:defRPr b="1"/>
            </a:lvl1pPr>
          </a:lstStyle>
          <a:p>
            <a:pPr lvl="0"/>
            <a:r>
              <a:rPr lang="en-US"/>
              <a:t>Click to enter name</a:t>
            </a:r>
          </a:p>
        </p:txBody>
      </p:sp>
      <p:sp>
        <p:nvSpPr>
          <p:cNvPr id="26" name="Picture Placeholder 25">
            <a:extLst>
              <a:ext uri="{FF2B5EF4-FFF2-40B4-BE49-F238E27FC236}">
                <a16:creationId xmlns:a16="http://schemas.microsoft.com/office/drawing/2014/main" id="{A90F42FD-182D-4BF9-B035-D169A8D24E8C}"/>
              </a:ext>
            </a:extLst>
          </p:cNvPr>
          <p:cNvSpPr>
            <a:spLocks noGrp="1"/>
          </p:cNvSpPr>
          <p:nvPr>
            <p:ph type="pic" sz="quarter" idx="16" hasCustomPrompt="1"/>
          </p:nvPr>
        </p:nvSpPr>
        <p:spPr>
          <a:xfrm>
            <a:off x="695325" y="2425937"/>
            <a:ext cx="3246438" cy="3246539"/>
          </a:xfrm>
        </p:spPr>
        <p:txBody>
          <a:bodyPr anchor="ctr"/>
          <a:lstStyle>
            <a:lvl1pPr marL="0" indent="0" algn="ctr">
              <a:buNone/>
              <a:defRPr sz="1000"/>
            </a:lvl1pPr>
          </a:lstStyle>
          <a:p>
            <a:r>
              <a:rPr lang="en-US"/>
              <a:t>ADD PHOTO</a:t>
            </a:r>
          </a:p>
        </p:txBody>
      </p:sp>
    </p:spTree>
    <p:extLst>
      <p:ext uri="{BB962C8B-B14F-4D97-AF65-F5344CB8AC3E}">
        <p14:creationId xmlns:p14="http://schemas.microsoft.com/office/powerpoint/2010/main" val="42761831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3B85A9-162D-4334-84EE-CBB133AFAD08}"/>
              </a:ext>
            </a:extLst>
          </p:cNvPr>
          <p:cNvGraphicFramePr>
            <a:graphicFrameLocks noChangeAspect="1"/>
          </p:cNvGraphicFramePr>
          <p:nvPr userDrawn="1">
            <p:custDataLst>
              <p:tags r:id="rId1"/>
            </p:custDataLst>
            <p:extLst>
              <p:ext uri="{D42A27DB-BD31-4B8C-83A1-F6EECF244321}">
                <p14:modId xmlns:p14="http://schemas.microsoft.com/office/powerpoint/2010/main" val="510268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703B85A9-162D-4334-84EE-CBB133AFAD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5">
            <a:extLst>
              <a:ext uri="{FF2B5EF4-FFF2-40B4-BE49-F238E27FC236}">
                <a16:creationId xmlns:a16="http://schemas.microsoft.com/office/drawing/2014/main" id="{336431FE-174A-4D2F-A92F-1D0AA5E4ABFB}"/>
              </a:ext>
            </a:extLst>
          </p:cNvPr>
          <p:cNvSpPr/>
          <p:nvPr userDrawn="1"/>
        </p:nvSpPr>
        <p:spPr>
          <a:xfrm>
            <a:off x="9462381" y="2731407"/>
            <a:ext cx="1360170" cy="2076450"/>
          </a:xfrm>
          <a:custGeom>
            <a:avLst/>
            <a:gdLst/>
            <a:ahLst/>
            <a:cxnLst/>
            <a:rect l="l" t="t"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p:spPr>
        <p:txBody>
          <a:bodyPr wrap="square" lIns="0" tIns="0" rIns="0" bIns="0" rtlCol="0"/>
          <a:lstStyle/>
          <a:p>
            <a:endParaRPr/>
          </a:p>
        </p:txBody>
      </p:sp>
      <p:sp>
        <p:nvSpPr>
          <p:cNvPr id="13" name="object 6">
            <a:extLst>
              <a:ext uri="{FF2B5EF4-FFF2-40B4-BE49-F238E27FC236}">
                <a16:creationId xmlns:a16="http://schemas.microsoft.com/office/drawing/2014/main" id="{7EC14487-1B26-45A1-A4A0-A3686E74DEA1}"/>
              </a:ext>
            </a:extLst>
          </p:cNvPr>
          <p:cNvSpPr/>
          <p:nvPr userDrawn="1"/>
        </p:nvSpPr>
        <p:spPr>
          <a:xfrm>
            <a:off x="10822475" y="2731409"/>
            <a:ext cx="1360170" cy="2076450"/>
          </a:xfrm>
          <a:custGeom>
            <a:avLst/>
            <a:gdLst/>
            <a:ahLst/>
            <a:cxnLst/>
            <a:rect l="l" t="t"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p:spPr>
        <p:txBody>
          <a:bodyPr wrap="square" lIns="0" tIns="0" rIns="0" bIns="0" rtlCol="0"/>
          <a:lstStyle/>
          <a:p>
            <a:endParaRPr/>
          </a:p>
        </p:txBody>
      </p:sp>
      <p:sp>
        <p:nvSpPr>
          <p:cNvPr id="14" name="object 7">
            <a:extLst>
              <a:ext uri="{FF2B5EF4-FFF2-40B4-BE49-F238E27FC236}">
                <a16:creationId xmlns:a16="http://schemas.microsoft.com/office/drawing/2014/main" id="{83BE97B9-6E1F-429B-BC98-416FAB58DFB6}"/>
              </a:ext>
            </a:extLst>
          </p:cNvPr>
          <p:cNvSpPr/>
          <p:nvPr userDrawn="1"/>
        </p:nvSpPr>
        <p:spPr>
          <a:xfrm>
            <a:off x="8107032" y="659402"/>
            <a:ext cx="4076065" cy="6220460"/>
          </a:xfrm>
          <a:custGeom>
            <a:avLst/>
            <a:gdLst/>
            <a:ahLst/>
            <a:cxnLst/>
            <a:rect l="l" t="t"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p:spPr>
        <p:txBody>
          <a:bodyPr wrap="square" lIns="0" tIns="0" rIns="0" bIns="0" rtlCol="0"/>
          <a:lstStyle/>
          <a:p>
            <a:endParaRPr/>
          </a:p>
        </p:txBody>
      </p:sp>
      <p:sp>
        <p:nvSpPr>
          <p:cNvPr id="3" name="Subtitle 2">
            <a:extLst>
              <a:ext uri="{FF2B5EF4-FFF2-40B4-BE49-F238E27FC236}">
                <a16:creationId xmlns:a16="http://schemas.microsoft.com/office/drawing/2014/main" id="{191D739E-3F73-4C3E-8D5C-2C47E332CDEF}"/>
              </a:ext>
            </a:extLst>
          </p:cNvPr>
          <p:cNvSpPr>
            <a:spLocks noGrp="1"/>
          </p:cNvSpPr>
          <p:nvPr>
            <p:ph type="subTitle" idx="1" hasCustomPrompt="1"/>
          </p:nvPr>
        </p:nvSpPr>
        <p:spPr>
          <a:xfrm>
            <a:off x="596348" y="3414411"/>
            <a:ext cx="9144000" cy="40011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For more information contact:</a:t>
            </a:r>
          </a:p>
        </p:txBody>
      </p:sp>
      <p:sp>
        <p:nvSpPr>
          <p:cNvPr id="9" name="object 6">
            <a:extLst>
              <a:ext uri="{FF2B5EF4-FFF2-40B4-BE49-F238E27FC236}">
                <a16:creationId xmlns:a16="http://schemas.microsoft.com/office/drawing/2014/main" id="{5F791555-3830-49F2-BB13-CCE7918F93A5}"/>
              </a:ext>
            </a:extLst>
          </p:cNvPr>
          <p:cNvSpPr/>
          <p:nvPr userDrawn="1"/>
        </p:nvSpPr>
        <p:spPr>
          <a:xfrm>
            <a:off x="679528" y="698703"/>
            <a:ext cx="1800238" cy="681168"/>
          </a:xfrm>
          <a:custGeom>
            <a:avLst/>
            <a:gdLst/>
            <a:ahLst/>
            <a:cxnLst/>
            <a:rect l="l" t="t"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p:spPr>
        <p:txBody>
          <a:bodyPr wrap="square" lIns="0" tIns="0" rIns="0" bIns="0" rtlCol="0"/>
          <a:lstStyle/>
          <a:p>
            <a:endParaRPr/>
          </a:p>
        </p:txBody>
      </p:sp>
    </p:spTree>
    <p:extLst>
      <p:ext uri="{BB962C8B-B14F-4D97-AF65-F5344CB8AC3E}">
        <p14:creationId xmlns:p14="http://schemas.microsoft.com/office/powerpoint/2010/main" val="40795784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Punktside med bilde: Real Esta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66150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3"/>
          <p:cNvSpPr>
            <a:spLocks noGrp="1"/>
          </p:cNvSpPr>
          <p:nvPr>
            <p:ph type="body" sz="quarter" idx="14" hasCustomPrompt="1"/>
          </p:nvPr>
        </p:nvSpPr>
        <p:spPr>
          <a:xfrm>
            <a:off x="1189005" y="6410325"/>
            <a:ext cx="9193266" cy="282575"/>
          </a:xfrm>
        </p:spPr>
        <p:txBody>
          <a:bodyPr vert="horz" lIns="91440" tIns="45720" rIns="91440" bIns="45720" rtlCol="0" anchor="ctr">
            <a:noAutofit/>
          </a:bodyPr>
          <a:lstStyle>
            <a:lvl1pPr marL="0" indent="0">
              <a:buNone/>
              <a:defRPr lang="en-US" sz="900" smtClean="0">
                <a:solidFill>
                  <a:schemeClr val="tx1">
                    <a:tint val="75000"/>
                  </a:schemeClr>
                </a:solidFill>
              </a:defRPr>
            </a:lvl1pPr>
            <a:lvl2pPr>
              <a:defRPr lang="en-US" sz="1800" smtClean="0"/>
            </a:lvl2pPr>
            <a:lvl3pPr>
              <a:defRPr lang="en-US" sz="1800" smtClean="0"/>
            </a:lvl3pPr>
            <a:lvl4pPr>
              <a:defRPr lang="en-US" sz="1800" smtClean="0"/>
            </a:lvl4pPr>
            <a:lvl5pPr>
              <a:defRPr lang="en-US" sz="1800"/>
            </a:lvl5pPr>
          </a:lstStyle>
          <a:p>
            <a:pPr marL="0" lvl="0"/>
            <a:r>
              <a:rPr lang="en-US"/>
              <a:t>Source:</a:t>
            </a:r>
            <a:br>
              <a:rPr lang="en-US"/>
            </a:br>
            <a:r>
              <a:rPr lang="en-US"/>
              <a:t>Note:</a:t>
            </a:r>
          </a:p>
        </p:txBody>
      </p:sp>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nb-NO" sz="3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Plassholder for tekst 6">
            <a:extLst>
              <a:ext uri="{FF2B5EF4-FFF2-40B4-BE49-F238E27FC236}">
                <a16:creationId xmlns:a16="http://schemas.microsoft.com/office/drawing/2014/main" id="{A9C0A7E5-1560-8E49-B49A-CA54A0B9B5B5}"/>
              </a:ext>
            </a:extLst>
          </p:cNvPr>
          <p:cNvSpPr>
            <a:spLocks noGrp="1"/>
          </p:cNvSpPr>
          <p:nvPr>
            <p:ph type="body" sz="quarter" idx="10"/>
          </p:nvPr>
        </p:nvSpPr>
        <p:spPr>
          <a:xfrm>
            <a:off x="684000" y="2037178"/>
            <a:ext cx="5126303" cy="4262822"/>
          </a:xfrm>
        </p:spPr>
        <p:txBody>
          <a:bodyPr/>
          <a:lstStyle>
            <a:lvl1pPr marL="180000" indent="-180000">
              <a:lnSpc>
                <a:spcPct val="110000"/>
              </a:lnSpc>
              <a:defRPr/>
            </a:lvl1pPr>
            <a:lvl2pPr marL="360000" marR="0" indent="-180975" algn="l" defTabSz="914400" rtl="0" eaLnBrk="1" fontAlgn="auto" latinLnBrk="0" hangingPunct="1">
              <a:lnSpc>
                <a:spcPct val="110000"/>
              </a:lnSpc>
              <a:spcBef>
                <a:spcPts val="500"/>
              </a:spcBef>
              <a:spcAft>
                <a:spcPts val="0"/>
              </a:spcAft>
              <a:buClr>
                <a:schemeClr val="tx2"/>
              </a:buClr>
              <a:buSzTx/>
              <a:buFont typeface="Arial" panose="020B0604020202020204" pitchFamily="34" charset="0"/>
              <a:buChar char="•"/>
              <a:tabLst>
                <a:tab pos="561975" algn="l"/>
              </a:tabLst>
              <a:defRPr/>
            </a:lvl2pPr>
            <a:lvl3pPr marL="520700" indent="-285750">
              <a:spcBef>
                <a:spcPts val="500"/>
              </a:spcBef>
              <a:buFont typeface="Arial" panose="020B0604020202020204" pitchFamily="34" charset="0"/>
              <a:buChar char="•"/>
              <a:tabLst/>
              <a:defRPr/>
            </a:lvl3pPr>
            <a:lvl4pPr marL="540000" indent="-180000">
              <a:lnSpc>
                <a:spcPct val="110000"/>
              </a:lnSpc>
              <a:buFont typeface="Arial" panose="020B0604020202020204" pitchFamily="34" charset="0"/>
              <a:buChar char="•"/>
              <a:tabLst/>
              <a:defRPr/>
            </a:lvl4pPr>
            <a:lvl5pPr marL="720000" indent="-180000">
              <a:lnSpc>
                <a:spcPct val="110000"/>
              </a:lnSpc>
              <a:buFont typeface="Arial" panose="020B0604020202020204" pitchFamily="34" charset="0"/>
              <a:buChar char="•"/>
              <a:tabLst/>
              <a:defRPr/>
            </a:lvl5pPr>
            <a:lvl6pPr marL="2286000" indent="0">
              <a:buNone/>
              <a:defRPr/>
            </a:lvl6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4" name="Tittel 1">
            <a:extLst>
              <a:ext uri="{FF2B5EF4-FFF2-40B4-BE49-F238E27FC236}">
                <a16:creationId xmlns:a16="http://schemas.microsoft.com/office/drawing/2014/main" id="{3D50FA47-5A57-BB4C-AAAF-A66F5B927F3D}"/>
              </a:ext>
            </a:extLst>
          </p:cNvPr>
          <p:cNvSpPr>
            <a:spLocks noGrp="1"/>
          </p:cNvSpPr>
          <p:nvPr>
            <p:ph type="ctrTitle" hasCustomPrompt="1"/>
          </p:nvPr>
        </p:nvSpPr>
        <p:spPr>
          <a:xfrm>
            <a:off x="684000" y="568589"/>
            <a:ext cx="10633288" cy="900000"/>
          </a:xfrm>
        </p:spPr>
        <p:txBody>
          <a:bodyPr vert="horz" anchor="b">
            <a:normAutofit/>
          </a:bodyPr>
          <a:lstStyle>
            <a:lvl1pPr algn="l" latinLnBrk="1" hangingPunct="1">
              <a:defRPr sz="3000" b="1" i="0">
                <a:latin typeface="Arial" panose="020B0604020202020204" pitchFamily="34" charset="0"/>
                <a:cs typeface="Arial" panose="020B0604020202020204" pitchFamily="34" charset="0"/>
              </a:defRPr>
            </a:lvl1pPr>
          </a:lstStyle>
          <a:p>
            <a:r>
              <a:rPr lang="nb-NO"/>
              <a:t>Klikk for å redigere tittelstil</a:t>
            </a:r>
          </a:p>
        </p:txBody>
      </p:sp>
      <p:pic>
        <p:nvPicPr>
          <p:cNvPr id="11" name="Bilde 10">
            <a:extLst>
              <a:ext uri="{FF2B5EF4-FFF2-40B4-BE49-F238E27FC236}">
                <a16:creationId xmlns:a16="http://schemas.microsoft.com/office/drawing/2014/main" id="{D9E1AF9F-E3D2-784A-A07A-84E801178C74}"/>
              </a:ext>
            </a:extLst>
          </p:cNvPr>
          <p:cNvPicPr>
            <a:picLocks noChangeAspect="1"/>
          </p:cNvPicPr>
          <p:nvPr userDrawn="1"/>
        </p:nvPicPr>
        <p:blipFill>
          <a:blip r:embed="rId6"/>
          <a:stretch>
            <a:fillRect/>
          </a:stretch>
        </p:blipFill>
        <p:spPr>
          <a:xfrm>
            <a:off x="11455905" y="6220131"/>
            <a:ext cx="327650" cy="406285"/>
          </a:xfrm>
          <a:prstGeom prst="rect">
            <a:avLst/>
          </a:prstGeom>
        </p:spPr>
      </p:pic>
      <p:sp>
        <p:nvSpPr>
          <p:cNvPr id="12" name="Plassholder for dato 3">
            <a:extLst>
              <a:ext uri="{FF2B5EF4-FFF2-40B4-BE49-F238E27FC236}">
                <a16:creationId xmlns:a16="http://schemas.microsoft.com/office/drawing/2014/main" id="{0015510E-2F5E-BD46-8523-29D72BC7DE8A}"/>
              </a:ext>
            </a:extLst>
          </p:cNvPr>
          <p:cNvSpPr>
            <a:spLocks noGrp="1"/>
          </p:cNvSpPr>
          <p:nvPr>
            <p:ph type="dt" sz="half" idx="2"/>
          </p:nvPr>
        </p:nvSpPr>
        <p:spPr>
          <a:xfrm>
            <a:off x="10523088" y="6476279"/>
            <a:ext cx="792000" cy="144000"/>
          </a:xfrm>
          <a:prstGeom prst="rect">
            <a:avLst/>
          </a:prstGeom>
        </p:spPr>
        <p:txBody>
          <a:bodyPr vert="horz" lIns="91440" tIns="45720" rIns="91440" bIns="45720" rtlCol="0" anchor="ctr"/>
          <a:lstStyle>
            <a:lvl1pPr algn="r">
              <a:defRPr sz="900">
                <a:solidFill>
                  <a:schemeClr val="tx1">
                    <a:tint val="75000"/>
                  </a:schemeClr>
                </a:solidFill>
              </a:defRPr>
            </a:lvl1pPr>
          </a:lstStyle>
          <a:p>
            <a:fld id="{D472113D-C918-4E27-9F06-550F3AFC63F3}" type="datetime1">
              <a:rPr lang="nb-NO" smtClean="0"/>
              <a:t>18.01.2026</a:t>
            </a:fld>
            <a:endParaRPr lang="nb-NO"/>
          </a:p>
        </p:txBody>
      </p:sp>
      <p:sp>
        <p:nvSpPr>
          <p:cNvPr id="13" name="Plassholder for lysbildenummer 5">
            <a:extLst>
              <a:ext uri="{FF2B5EF4-FFF2-40B4-BE49-F238E27FC236}">
                <a16:creationId xmlns:a16="http://schemas.microsoft.com/office/drawing/2014/main" id="{9F706B50-58EF-8444-A796-03F49AB440E8}"/>
              </a:ext>
            </a:extLst>
          </p:cNvPr>
          <p:cNvSpPr>
            <a:spLocks noGrp="1"/>
          </p:cNvSpPr>
          <p:nvPr>
            <p:ph type="sldNum" sz="quarter" idx="4"/>
          </p:nvPr>
        </p:nvSpPr>
        <p:spPr>
          <a:xfrm>
            <a:off x="678788" y="6410325"/>
            <a:ext cx="381876" cy="282574"/>
          </a:xfrm>
          <a:prstGeom prst="rect">
            <a:avLst/>
          </a:prstGeom>
        </p:spPr>
        <p:txBody>
          <a:bodyPr vert="horz" lIns="91440" tIns="45720" rIns="91440" bIns="45720" rtlCol="0" anchor="ctr"/>
          <a:lstStyle>
            <a:lvl1pPr algn="l">
              <a:defRPr sz="900">
                <a:solidFill>
                  <a:schemeClr val="tx1">
                    <a:tint val="75000"/>
                  </a:schemeClr>
                </a:solidFill>
              </a:defRPr>
            </a:lvl1pPr>
          </a:lstStyle>
          <a:p>
            <a:fld id="{B8569BB6-9340-5843-86A4-839CB8A7DD90}" type="slidenum">
              <a:rPr lang="nb-NO" smtClean="0"/>
              <a:pPr/>
              <a:t>‹#›</a:t>
            </a:fld>
            <a:endParaRPr lang="nb-NO"/>
          </a:p>
        </p:txBody>
      </p:sp>
      <p:sp>
        <p:nvSpPr>
          <p:cNvPr id="3" name="Content Placeholder 2"/>
          <p:cNvSpPr>
            <a:spLocks noGrp="1"/>
          </p:cNvSpPr>
          <p:nvPr>
            <p:ph sz="quarter" idx="11" hasCustomPrompt="1"/>
          </p:nvPr>
        </p:nvSpPr>
        <p:spPr>
          <a:xfrm>
            <a:off x="684213" y="1666875"/>
            <a:ext cx="5126037" cy="370302"/>
          </a:xfrm>
          <a:gradFill flip="none" rotWithShape="1">
            <a:gsLst>
              <a:gs pos="0">
                <a:schemeClr val="bg1"/>
              </a:gs>
              <a:gs pos="97000">
                <a:schemeClr val="bg1"/>
              </a:gs>
              <a:gs pos="97000">
                <a:schemeClr val="accent1"/>
              </a:gs>
            </a:gsLst>
            <a:lin ang="5400000" scaled="0"/>
            <a:tileRect/>
          </a:gradFill>
        </p:spPr>
        <p:txBody>
          <a:bodyPr>
            <a:noAutofit/>
          </a:bodyPr>
          <a:lstStyle>
            <a:lvl1pPr marL="0" indent="0">
              <a:buNone/>
              <a:defRPr b="1"/>
            </a:lvl1pPr>
          </a:lstStyle>
          <a:p>
            <a:pPr lvl="0"/>
            <a:r>
              <a:rPr lang="en-US"/>
              <a:t>Heading</a:t>
            </a:r>
          </a:p>
        </p:txBody>
      </p:sp>
      <p:pic>
        <p:nvPicPr>
          <p:cNvPr id="16" name="Bilde 12">
            <a:extLst>
              <a:ext uri="{FF2B5EF4-FFF2-40B4-BE49-F238E27FC236}">
                <a16:creationId xmlns:a16="http://schemas.microsoft.com/office/drawing/2014/main" id="{409CC12C-DD6D-7442-BFB7-6FAC392371B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455905" y="6220901"/>
            <a:ext cx="327650" cy="404744"/>
          </a:xfrm>
          <a:prstGeom prst="rect">
            <a:avLst/>
          </a:prstGeom>
        </p:spPr>
      </p:pic>
      <p:sp>
        <p:nvSpPr>
          <p:cNvPr id="14" name="Plassholder for tekst 6">
            <a:extLst>
              <a:ext uri="{FF2B5EF4-FFF2-40B4-BE49-F238E27FC236}">
                <a16:creationId xmlns:a16="http://schemas.microsoft.com/office/drawing/2014/main" id="{A9C0A7E5-1560-8E49-B49A-CA54A0B9B5B5}"/>
              </a:ext>
            </a:extLst>
          </p:cNvPr>
          <p:cNvSpPr>
            <a:spLocks noGrp="1"/>
          </p:cNvSpPr>
          <p:nvPr>
            <p:ph type="body" sz="quarter" idx="15"/>
          </p:nvPr>
        </p:nvSpPr>
        <p:spPr>
          <a:xfrm>
            <a:off x="6188785" y="2037178"/>
            <a:ext cx="5126303" cy="4262822"/>
          </a:xfrm>
        </p:spPr>
        <p:txBody>
          <a:bodyPr/>
          <a:lstStyle>
            <a:lvl1pPr marL="180000" indent="-180000">
              <a:lnSpc>
                <a:spcPct val="110000"/>
              </a:lnSpc>
              <a:defRPr/>
            </a:lvl1pPr>
            <a:lvl2pPr marL="360000" marR="0" indent="-180975" algn="l" defTabSz="914400" rtl="0" eaLnBrk="1" fontAlgn="auto" latinLnBrk="0" hangingPunct="1">
              <a:lnSpc>
                <a:spcPct val="110000"/>
              </a:lnSpc>
              <a:spcBef>
                <a:spcPts val="500"/>
              </a:spcBef>
              <a:spcAft>
                <a:spcPts val="0"/>
              </a:spcAft>
              <a:buClr>
                <a:schemeClr val="tx2"/>
              </a:buClr>
              <a:buSzTx/>
              <a:buFont typeface="Arial" panose="020B0604020202020204" pitchFamily="34" charset="0"/>
              <a:buChar char="•"/>
              <a:tabLst>
                <a:tab pos="561975" algn="l"/>
              </a:tabLst>
              <a:defRPr/>
            </a:lvl2pPr>
            <a:lvl3pPr marL="520700" indent="-285750">
              <a:spcBef>
                <a:spcPts val="500"/>
              </a:spcBef>
              <a:buFont typeface="Arial" panose="020B0604020202020204" pitchFamily="34" charset="0"/>
              <a:buChar char="•"/>
              <a:tabLst/>
              <a:defRPr/>
            </a:lvl3pPr>
            <a:lvl4pPr marL="540000" indent="-180000">
              <a:lnSpc>
                <a:spcPct val="110000"/>
              </a:lnSpc>
              <a:buFont typeface="Arial" panose="020B0604020202020204" pitchFamily="34" charset="0"/>
              <a:buChar char="•"/>
              <a:tabLst/>
              <a:defRPr/>
            </a:lvl4pPr>
            <a:lvl5pPr marL="720000" indent="-180000">
              <a:lnSpc>
                <a:spcPct val="110000"/>
              </a:lnSpc>
              <a:buFont typeface="Arial" panose="020B0604020202020204" pitchFamily="34" charset="0"/>
              <a:buChar char="•"/>
              <a:tabLst/>
              <a:defRPr/>
            </a:lvl5pPr>
            <a:lvl6pPr marL="2286000" indent="0">
              <a:buNone/>
              <a:defRPr/>
            </a:lvl6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Content Placeholder 2"/>
          <p:cNvSpPr>
            <a:spLocks noGrp="1"/>
          </p:cNvSpPr>
          <p:nvPr>
            <p:ph sz="quarter" idx="16" hasCustomPrompt="1"/>
          </p:nvPr>
        </p:nvSpPr>
        <p:spPr>
          <a:xfrm>
            <a:off x="6188998" y="1666875"/>
            <a:ext cx="5126037" cy="370302"/>
          </a:xfrm>
          <a:gradFill flip="none" rotWithShape="1">
            <a:gsLst>
              <a:gs pos="0">
                <a:schemeClr val="bg1"/>
              </a:gs>
              <a:gs pos="97000">
                <a:schemeClr val="bg1"/>
              </a:gs>
              <a:gs pos="97000">
                <a:schemeClr val="accent1"/>
              </a:gs>
            </a:gsLst>
            <a:lin ang="5400000" scaled="0"/>
            <a:tileRect/>
          </a:gradFill>
        </p:spPr>
        <p:txBody>
          <a:bodyPr>
            <a:noAutofit/>
          </a:bodyPr>
          <a:lstStyle>
            <a:lvl1pPr marL="0" indent="0">
              <a:buNone/>
              <a:defRPr b="1"/>
            </a:lvl1pPr>
          </a:lstStyle>
          <a:p>
            <a:pPr lvl="0"/>
            <a:r>
              <a:rPr lang="en-US"/>
              <a:t>Heading</a:t>
            </a:r>
          </a:p>
        </p:txBody>
      </p:sp>
    </p:spTree>
    <p:extLst>
      <p:ext uri="{BB962C8B-B14F-4D97-AF65-F5344CB8AC3E}">
        <p14:creationId xmlns:p14="http://schemas.microsoft.com/office/powerpoint/2010/main" val="2364553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5" hidden="1">
            <a:extLst>
              <a:ext uri="{FF2B5EF4-FFF2-40B4-BE49-F238E27FC236}">
                <a16:creationId xmlns:a16="http://schemas.microsoft.com/office/drawing/2014/main" id="{06983252-9038-F557-26C9-B77EEB46904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5" hidden="1">
                        <a:extLst>
                          <a:ext uri="{FF2B5EF4-FFF2-40B4-BE49-F238E27FC236}">
                            <a16:creationId xmlns:a16="http://schemas.microsoft.com/office/drawing/2014/main" id="{06983252-9038-F557-26C9-B77EEB4690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5">
            <a:extLst>
              <a:ext uri="{FF2B5EF4-FFF2-40B4-BE49-F238E27FC236}">
                <a16:creationId xmlns:a16="http://schemas.microsoft.com/office/drawing/2014/main" id="{8D2CBE50-4E95-A34B-23DA-476A35072786}"/>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1D1D1F6A-29A7-6C0D-1536-F3490EBCE5E8}"/>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7">
            <a:extLst>
              <a:ext uri="{FF2B5EF4-FFF2-40B4-BE49-F238E27FC236}">
                <a16:creationId xmlns:a16="http://schemas.microsoft.com/office/drawing/2014/main" id="{382BDE39-8B0E-96C7-9B0D-3F6C4C1F61B6}"/>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6">
            <a:extLst>
              <a:ext uri="{FF2B5EF4-FFF2-40B4-BE49-F238E27FC236}">
                <a16:creationId xmlns:a16="http://schemas.microsoft.com/office/drawing/2014/main" id="{DEDDA78D-6B39-DF37-E2B5-DE3361542FE6}"/>
              </a:ext>
            </a:extLst>
          </p:cNvPr>
          <p:cNvSpPr>
            <a:spLocks/>
          </p:cNvSpPr>
          <p:nvPr/>
        </p:nvSpPr>
        <p:spPr bwMode="auto">
          <a:xfrm>
            <a:off x="679450" y="698500"/>
            <a:ext cx="1800225" cy="681038"/>
          </a:xfrm>
          <a:custGeom>
            <a:avLst/>
            <a:gdLst>
              <a:gd name="T0" fmla="*/ 0 w 634365"/>
              <a:gd name="T1" fmla="*/ 669533 h 240029"/>
              <a:gd name="T2" fmla="*/ 137164 w 634365"/>
              <a:gd name="T3" fmla="*/ 0 h 240029"/>
              <a:gd name="T4" fmla="*/ 294568 w 634365"/>
              <a:gd name="T5" fmla="*/ 669533 h 240029"/>
              <a:gd name="T6" fmla="*/ 269833 w 634365"/>
              <a:gd name="T7" fmla="*/ 437338 h 240029"/>
              <a:gd name="T8" fmla="*/ 294568 w 634365"/>
              <a:gd name="T9" fmla="*/ 205141 h 240029"/>
              <a:gd name="T10" fmla="*/ 294568 w 634365"/>
              <a:gd name="T11" fmla="*/ 669533 h 240029"/>
              <a:gd name="T12" fmla="*/ 1209753 w 634365"/>
              <a:gd name="T13" fmla="*/ 669533 h 240029"/>
              <a:gd name="T14" fmla="*/ 1346920 w 634365"/>
              <a:gd name="T15" fmla="*/ 0 h 240029"/>
              <a:gd name="T16" fmla="*/ 1639240 w 634365"/>
              <a:gd name="T17" fmla="*/ 669533 h 240029"/>
              <a:gd name="T18" fmla="*/ 1346920 w 634365"/>
              <a:gd name="T19" fmla="*/ 437338 h 240029"/>
              <a:gd name="T20" fmla="*/ 1639240 w 634365"/>
              <a:gd name="T21" fmla="*/ 205141 h 240029"/>
              <a:gd name="T22" fmla="*/ 1639240 w 634365"/>
              <a:gd name="T23" fmla="*/ 669533 h 240029"/>
              <a:gd name="T24" fmla="*/ 549048 w 634365"/>
              <a:gd name="T25" fmla="*/ 667913 h 240029"/>
              <a:gd name="T26" fmla="*/ 479271 w 634365"/>
              <a:gd name="T27" fmla="*/ 568581 h 240029"/>
              <a:gd name="T28" fmla="*/ 472208 w 634365"/>
              <a:gd name="T29" fmla="*/ 205141 h 240029"/>
              <a:gd name="T30" fmla="*/ 604925 w 634365"/>
              <a:gd name="T31" fmla="*/ 450864 h 240029"/>
              <a:gd name="T32" fmla="*/ 613027 w 634365"/>
              <a:gd name="T33" fmla="*/ 534837 h 240029"/>
              <a:gd name="T34" fmla="*/ 670087 w 634365"/>
              <a:gd name="T35" fmla="*/ 570343 h 240029"/>
              <a:gd name="T36" fmla="*/ 879208 w 634365"/>
              <a:gd name="T37" fmla="*/ 604158 h 240029"/>
              <a:gd name="T38" fmla="*/ 724650 w 634365"/>
              <a:gd name="T39" fmla="*/ 636106 h 240029"/>
              <a:gd name="T40" fmla="*/ 664009 w 634365"/>
              <a:gd name="T41" fmla="*/ 675485 h 240029"/>
              <a:gd name="T42" fmla="*/ 879208 w 634365"/>
              <a:gd name="T43" fmla="*/ 570343 h 240029"/>
              <a:gd name="T44" fmla="*/ 705748 w 634365"/>
              <a:gd name="T45" fmla="*/ 563721 h 240029"/>
              <a:gd name="T46" fmla="*/ 742498 w 634365"/>
              <a:gd name="T47" fmla="*/ 505672 h 240029"/>
              <a:gd name="T48" fmla="*/ 746539 w 634365"/>
              <a:gd name="T49" fmla="*/ 205141 h 240029"/>
              <a:gd name="T50" fmla="*/ 879208 w 634365"/>
              <a:gd name="T51" fmla="*/ 570343 h 240029"/>
              <a:gd name="T52" fmla="*/ 746539 w 634365"/>
              <a:gd name="T53" fmla="*/ 669533 h 240029"/>
              <a:gd name="T54" fmla="*/ 879208 w 634365"/>
              <a:gd name="T55" fmla="*/ 604158 h 240029"/>
              <a:gd name="T56" fmla="*/ 1149041 w 634365"/>
              <a:gd name="T57" fmla="*/ 669533 h 240029"/>
              <a:gd name="T58" fmla="*/ 1040195 w 634365"/>
              <a:gd name="T59" fmla="*/ 664321 h 240029"/>
              <a:gd name="T60" fmla="*/ 970067 w 634365"/>
              <a:gd name="T61" fmla="*/ 604862 h 240029"/>
              <a:gd name="T62" fmla="*/ 962407 w 634365"/>
              <a:gd name="T63" fmla="*/ 0 h 240029"/>
              <a:gd name="T64" fmla="*/ 1099571 w 634365"/>
              <a:gd name="T65" fmla="*/ 504968 h 240029"/>
              <a:gd name="T66" fmla="*/ 1100028 w 634365"/>
              <a:gd name="T67" fmla="*/ 530186 h 240029"/>
              <a:gd name="T68" fmla="*/ 1124834 w 634365"/>
              <a:gd name="T69" fmla="*/ 554423 h 240029"/>
              <a:gd name="T70" fmla="*/ 1149041 w 634365"/>
              <a:gd name="T71" fmla="*/ 669533 h 240029"/>
              <a:gd name="T72" fmla="*/ 1706698 w 634365"/>
              <a:gd name="T73" fmla="*/ 214161 h 240029"/>
              <a:gd name="T74" fmla="*/ 1742676 w 634365"/>
              <a:gd name="T75" fmla="*/ 205141 h 240029"/>
              <a:gd name="T76" fmla="*/ 1729185 w 634365"/>
              <a:gd name="T77" fmla="*/ 247973 h 240029"/>
              <a:gd name="T78" fmla="*/ 1720189 w 634365"/>
              <a:gd name="T79" fmla="*/ 214161 h 240029"/>
              <a:gd name="T80" fmla="*/ 1729185 w 634365"/>
              <a:gd name="T81" fmla="*/ 247973 h 240029"/>
              <a:gd name="T82" fmla="*/ 1749422 w 634365"/>
              <a:gd name="T83" fmla="*/ 247973 h 240029"/>
              <a:gd name="T84" fmla="*/ 1765164 w 634365"/>
              <a:gd name="T85" fmla="*/ 205141 h 240029"/>
              <a:gd name="T86" fmla="*/ 1760666 w 634365"/>
              <a:gd name="T87" fmla="*/ 218669 h 240029"/>
              <a:gd name="T88" fmla="*/ 1782806 w 634365"/>
              <a:gd name="T89" fmla="*/ 234447 h 240029"/>
              <a:gd name="T90" fmla="*/ 1783153 w 634365"/>
              <a:gd name="T91" fmla="*/ 205141 h 240029"/>
              <a:gd name="T92" fmla="*/ 1798891 w 634365"/>
              <a:gd name="T93" fmla="*/ 218669 h 240029"/>
              <a:gd name="T94" fmla="*/ 1782806 w 634365"/>
              <a:gd name="T95" fmla="*/ 234447 h 240029"/>
              <a:gd name="T96" fmla="*/ 1769659 w 634365"/>
              <a:gd name="T97" fmla="*/ 247973 h 240029"/>
              <a:gd name="T98" fmla="*/ 1769312 w 634365"/>
              <a:gd name="T99" fmla="*/ 218669 h 240029"/>
              <a:gd name="T100" fmla="*/ 1782806 w 634365"/>
              <a:gd name="T101" fmla="*/ 234447 h 240029"/>
              <a:gd name="T102" fmla="*/ 1798891 w 634365"/>
              <a:gd name="T103" fmla="*/ 247973 h 240029"/>
              <a:gd name="T104" fmla="*/ 1787648 w 634365"/>
              <a:gd name="T105" fmla="*/ 218669 h 240029"/>
              <a:gd name="T106" fmla="*/ 1798891 w 634365"/>
              <a:gd name="T107" fmla="*/ 247973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 name="Title 1"/>
          <p:cNvSpPr>
            <a:spLocks noGrp="1"/>
          </p:cNvSpPr>
          <p:nvPr>
            <p:ph type="ctrTitle"/>
          </p:nvPr>
        </p:nvSpPr>
        <p:spPr>
          <a:xfrm>
            <a:off x="596348" y="2731405"/>
            <a:ext cx="9144000" cy="590931"/>
          </a:xfrm>
        </p:spPr>
        <p:txBody>
          <a:bodyPr anchor="b"/>
          <a:lstStyle>
            <a:lvl1pPr algn="l">
              <a:defRPr sz="36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96348" y="3414411"/>
            <a:ext cx="9144000" cy="40011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443821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1936369A-410A-753D-99FB-6042F984B1B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1936369A-410A-753D-99FB-6042F984B1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4">
            <a:extLst>
              <a:ext uri="{FF2B5EF4-FFF2-40B4-BE49-F238E27FC236}">
                <a16:creationId xmlns:a16="http://schemas.microsoft.com/office/drawing/2014/main" id="{A5B1C062-9CAC-A529-2B62-A0FDAFBBCA1B}"/>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3D9E0AD5-EAF0-4339-FA36-20DA7FB78AB8}"/>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TextBox 23">
            <a:extLst>
              <a:ext uri="{FF2B5EF4-FFF2-40B4-BE49-F238E27FC236}">
                <a16:creationId xmlns:a16="http://schemas.microsoft.com/office/drawing/2014/main" id="{D0BFCA5F-46B8-B507-72AC-1482A0AFDBDB}"/>
              </a:ext>
            </a:extLst>
          </p:cNvPr>
          <p:cNvSpPr txBox="1">
            <a:spLocks noChangeArrowheads="1"/>
          </p:cNvSpPr>
          <p:nvPr/>
        </p:nvSpPr>
        <p:spPr bwMode="auto">
          <a:xfrm>
            <a:off x="5397521" y="6542088"/>
            <a:ext cx="1768434" cy="230832"/>
          </a:xfrm>
          <a:prstGeom prst="rect">
            <a:avLst/>
          </a:prstGeom>
          <a:noFill/>
          <a:ln w="9525">
            <a:solidFill>
              <a:schemeClr val="bg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nb-NO" sz="900">
                <a:solidFill>
                  <a:schemeClr val="bg1"/>
                </a:solidFill>
              </a:rPr>
              <a:t>CLASSIFICATION: INTERNAL</a:t>
            </a:r>
          </a:p>
        </p:txBody>
      </p:sp>
      <p:grpSp>
        <p:nvGrpSpPr>
          <p:cNvPr id="8" name="object 2">
            <a:extLst>
              <a:ext uri="{FF2B5EF4-FFF2-40B4-BE49-F238E27FC236}">
                <a16:creationId xmlns:a16="http://schemas.microsoft.com/office/drawing/2014/main" id="{AEF6C2DA-4AD6-958F-2699-E59B593D6A4D}"/>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71D6A01D-1B14-E2D0-E408-4E8A917C51D0}"/>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211BBA03-D7FE-65BD-820B-4DBA515BE766}"/>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5" hidden="1">
            <a:extLst>
              <a:ext uri="{FF2B5EF4-FFF2-40B4-BE49-F238E27FC236}">
                <a16:creationId xmlns:a16="http://schemas.microsoft.com/office/drawing/2014/main" id="{CE8C650C-202E-9B3E-F80B-52E9043AD6C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5" hidden="1">
                        <a:extLst>
                          <a:ext uri="{FF2B5EF4-FFF2-40B4-BE49-F238E27FC236}">
                            <a16:creationId xmlns:a16="http://schemas.microsoft.com/office/drawing/2014/main" id="{CE8C650C-202E-9B3E-F80B-52E9043AD6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a:extLst>
              <a:ext uri="{FF2B5EF4-FFF2-40B4-BE49-F238E27FC236}">
                <a16:creationId xmlns:a16="http://schemas.microsoft.com/office/drawing/2014/main" id="{A59D94CF-D4A4-CEA2-94F7-AA70B72D202E}"/>
              </a:ext>
            </a:extLst>
          </p:cNvPr>
          <p:cNvSpPr>
            <a:spLocks noGrp="1"/>
          </p:cNvSpPr>
          <p:nvPr>
            <p:ph type="dt" sz="half" idx="10"/>
          </p:nvPr>
        </p:nvSpPr>
        <p:spPr/>
        <p:txBody>
          <a:bodyPr/>
          <a:lstStyle>
            <a:lvl1pPr>
              <a:defRPr/>
            </a:lvl1pPr>
          </a:lstStyle>
          <a:p>
            <a:pPr>
              <a:defRPr/>
            </a:pPr>
            <a:fld id="{B278D754-5DA4-4A04-A1CC-DEFC9BC7C5DB}" type="datetime1">
              <a:rPr lang="en-US"/>
              <a:pPr>
                <a:defRPr/>
              </a:pPr>
              <a:t>1/18/26</a:t>
            </a:fld>
            <a:endParaRPr lang="en-US"/>
          </a:p>
        </p:txBody>
      </p:sp>
      <p:sp>
        <p:nvSpPr>
          <p:cNvPr id="14" name="Slide Number Placeholder 5">
            <a:extLst>
              <a:ext uri="{FF2B5EF4-FFF2-40B4-BE49-F238E27FC236}">
                <a16:creationId xmlns:a16="http://schemas.microsoft.com/office/drawing/2014/main" id="{36059AB3-602B-6BB2-AA9D-9438CF3B6092}"/>
              </a:ext>
            </a:extLst>
          </p:cNvPr>
          <p:cNvSpPr>
            <a:spLocks noGrp="1"/>
          </p:cNvSpPr>
          <p:nvPr>
            <p:ph type="sldNum" sz="quarter" idx="12"/>
          </p:nvPr>
        </p:nvSpPr>
        <p:spPr/>
        <p:txBody>
          <a:bodyPr/>
          <a:lstStyle>
            <a:lvl1pPr>
              <a:defRPr/>
            </a:lvl1pPr>
          </a:lstStyle>
          <a:p>
            <a:pPr>
              <a:defRPr/>
            </a:pPr>
            <a:fld id="{7DC76A04-E962-4D24-8C83-949A65C24FE2}" type="slidenum">
              <a:rPr lang="en-US"/>
              <a:pPr>
                <a:defRPr/>
              </a:pPr>
              <a:t>‹#›</a:t>
            </a:fld>
            <a:endParaRPr lang="en-US"/>
          </a:p>
        </p:txBody>
      </p:sp>
    </p:spTree>
    <p:extLst>
      <p:ext uri="{BB962C8B-B14F-4D97-AF65-F5344CB8AC3E}">
        <p14:creationId xmlns:p14="http://schemas.microsoft.com/office/powerpoint/2010/main" val="7280029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BA5FB4E0-47B5-5527-124E-7C7BAE3AFAB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7" hidden="1">
                        <a:extLst>
                          <a:ext uri="{FF2B5EF4-FFF2-40B4-BE49-F238E27FC236}">
                            <a16:creationId xmlns:a16="http://schemas.microsoft.com/office/drawing/2014/main" id="{BA5FB4E0-47B5-5527-124E-7C7BAE3AFA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B41CA2AF-9680-F010-5779-8E3C3FC596D7}"/>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E6CBCCC0-4F03-722A-B6EA-BDEFCC5D4D80}"/>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84355436-C4F1-3238-6B76-AD5050816E42}"/>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9B05B128-9F2C-B677-A83F-2769F0FCFD0E}"/>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A8AE1D78-54D5-CCAA-86D9-2DD0D52D0CE3}"/>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9FF0FBA2-C978-77BB-F631-551ACE3BC91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9FF0FBA2-C978-77BB-F631-551ACE3BC9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object 2">
            <a:extLst>
              <a:ext uri="{FF2B5EF4-FFF2-40B4-BE49-F238E27FC236}">
                <a16:creationId xmlns:a16="http://schemas.microsoft.com/office/drawing/2014/main" id="{E90A3DFC-DBCA-C4FF-DE12-5923C9C4BB33}"/>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2" name="object 2">
            <a:extLst>
              <a:ext uri="{FF2B5EF4-FFF2-40B4-BE49-F238E27FC236}">
                <a16:creationId xmlns:a16="http://schemas.microsoft.com/office/drawing/2014/main" id="{0B84CB78-C018-FE9A-CF78-6FED68A644EC}"/>
              </a:ext>
            </a:extLst>
          </p:cNvPr>
          <p:cNvGrpSpPr>
            <a:grpSpLocks/>
          </p:cNvGrpSpPr>
          <p:nvPr/>
        </p:nvGrpSpPr>
        <p:grpSpPr bwMode="auto">
          <a:xfrm>
            <a:off x="11002963" y="0"/>
            <a:ext cx="1163637" cy="1343025"/>
            <a:chOff x="11002424" y="0"/>
            <a:chExt cx="1163955" cy="1342390"/>
          </a:xfrm>
        </p:grpSpPr>
        <p:sp>
          <p:nvSpPr>
            <p:cNvPr id="13" name="object 3">
              <a:extLst>
                <a:ext uri="{FF2B5EF4-FFF2-40B4-BE49-F238E27FC236}">
                  <a16:creationId xmlns:a16="http://schemas.microsoft.com/office/drawing/2014/main" id="{7DF65DC5-FD7B-D00F-FFDB-90EEB11F93F1}"/>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4">
              <a:extLst>
                <a:ext uri="{FF2B5EF4-FFF2-40B4-BE49-F238E27FC236}">
                  <a16:creationId xmlns:a16="http://schemas.microsoft.com/office/drawing/2014/main" id="{4C1ABD70-BE0F-EE31-202A-C8AA9597D8C7}"/>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5" name="Date Placeholder 3">
            <a:extLst>
              <a:ext uri="{FF2B5EF4-FFF2-40B4-BE49-F238E27FC236}">
                <a16:creationId xmlns:a16="http://schemas.microsoft.com/office/drawing/2014/main" id="{5B881FE6-4C6B-D79D-33AC-5C12F43FA512}"/>
              </a:ext>
            </a:extLst>
          </p:cNvPr>
          <p:cNvSpPr>
            <a:spLocks noGrp="1"/>
          </p:cNvSpPr>
          <p:nvPr>
            <p:ph type="dt" sz="half" idx="10"/>
          </p:nvPr>
        </p:nvSpPr>
        <p:spPr/>
        <p:txBody>
          <a:bodyPr/>
          <a:lstStyle>
            <a:lvl1pPr>
              <a:defRPr/>
            </a:lvl1pPr>
          </a:lstStyle>
          <a:p>
            <a:pPr>
              <a:defRPr/>
            </a:pPr>
            <a:fld id="{6A1E0AE1-FBDD-4B27-A1CC-F51A5AD9A74C}" type="datetime1">
              <a:rPr lang="en-US"/>
              <a:pPr>
                <a:defRPr/>
              </a:pPr>
              <a:t>1/18/26</a:t>
            </a:fld>
            <a:endParaRPr lang="en-US"/>
          </a:p>
        </p:txBody>
      </p:sp>
      <p:sp>
        <p:nvSpPr>
          <p:cNvPr id="16" name="Footer Placeholder 4">
            <a:extLst>
              <a:ext uri="{FF2B5EF4-FFF2-40B4-BE49-F238E27FC236}">
                <a16:creationId xmlns:a16="http://schemas.microsoft.com/office/drawing/2014/main" id="{A99EA0C4-1C25-7EC5-8098-53E48F390D5B}"/>
              </a:ext>
            </a:extLst>
          </p:cNvPr>
          <p:cNvSpPr>
            <a:spLocks noGrp="1"/>
          </p:cNvSpPr>
          <p:nvPr>
            <p:ph type="ftr" sz="quarter" idx="11"/>
          </p:nvPr>
        </p:nvSpPr>
        <p:spPr>
          <a:xfrm>
            <a:off x="1530350" y="6542088"/>
            <a:ext cx="4464050" cy="231775"/>
          </a:xfrm>
          <a:prstGeom prst="rect">
            <a:avLst/>
          </a:prstGeom>
        </p:spPr>
        <p:txBody>
          <a:bodyPr/>
          <a:lstStyle>
            <a:lvl1pPr>
              <a:defRPr/>
            </a:lvl1pPr>
          </a:lstStyle>
          <a:p>
            <a:pPr>
              <a:defRPr/>
            </a:pPr>
            <a:r>
              <a:rPr lang="en-US"/>
              <a:t>Document title or footer</a:t>
            </a:r>
          </a:p>
        </p:txBody>
      </p:sp>
      <p:sp>
        <p:nvSpPr>
          <p:cNvPr id="17" name="Slide Number Placeholder 5">
            <a:extLst>
              <a:ext uri="{FF2B5EF4-FFF2-40B4-BE49-F238E27FC236}">
                <a16:creationId xmlns:a16="http://schemas.microsoft.com/office/drawing/2014/main" id="{5D6E1F96-E522-AA67-79FD-FE1F7682BC80}"/>
              </a:ext>
            </a:extLst>
          </p:cNvPr>
          <p:cNvSpPr>
            <a:spLocks noGrp="1"/>
          </p:cNvSpPr>
          <p:nvPr>
            <p:ph type="sldNum" sz="quarter" idx="12"/>
          </p:nvPr>
        </p:nvSpPr>
        <p:spPr/>
        <p:txBody>
          <a:bodyPr/>
          <a:lstStyle>
            <a:lvl1pPr>
              <a:defRPr/>
            </a:lvl1pPr>
          </a:lstStyle>
          <a:p>
            <a:pPr>
              <a:defRPr/>
            </a:pPr>
            <a:fld id="{A67EB2C4-055C-4019-8D2A-CBC3B4B1D3C7}" type="slidenum">
              <a:rPr lang="en-US"/>
              <a:pPr>
                <a:defRPr/>
              </a:pPr>
              <a:t>‹#›</a:t>
            </a:fld>
            <a:endParaRPr lang="en-US"/>
          </a:p>
        </p:txBody>
      </p:sp>
      <p:sp>
        <p:nvSpPr>
          <p:cNvPr id="18" name="Plassholder for bunntekst 1">
            <a:extLst>
              <a:ext uri="{FF2B5EF4-FFF2-40B4-BE49-F238E27FC236}">
                <a16:creationId xmlns:a16="http://schemas.microsoft.com/office/drawing/2014/main" id="{BA772917-781D-C83E-520D-6E05363660C9}"/>
              </a:ext>
            </a:extLst>
          </p:cNvPr>
          <p:cNvSpPr txBox="1">
            <a:spLocks/>
          </p:cNvSpPr>
          <p:nvPr userDrawn="1"/>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3662416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45968752-FB5F-5916-021A-8BCA580889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45968752-FB5F-5916-021A-8BCA580889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7C217ABA-7C5E-FDF9-E71C-5E1F14E80898}"/>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E16D5ED9-2CB6-5088-868C-1B4962CF43BE}"/>
              </a:ext>
            </a:extLst>
          </p:cNvPr>
          <p:cNvSpPr>
            <a:spLocks/>
          </p:cNvSpPr>
          <p:nvPr userDrawn="1"/>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67E88AB0-99F9-9CCF-8FAD-36CC031790A3}"/>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0DAD6F6A-E48C-1EFC-2F73-8E887BFB38A7}"/>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9787E307-9DDD-574B-6564-BC1C0BA1F0C3}"/>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026BC80A-5288-450F-F81B-089898567A6C}"/>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90F266B4-F726-3813-B74F-F8D1FD242F9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90F266B4-F726-3813-B74F-F8D1FD242F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object 2">
            <a:extLst>
              <a:ext uri="{FF2B5EF4-FFF2-40B4-BE49-F238E27FC236}">
                <a16:creationId xmlns:a16="http://schemas.microsoft.com/office/drawing/2014/main" id="{3D0D44BD-EFF5-AE96-8288-6A010B99AC46}"/>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3" name="object 2">
            <a:extLst>
              <a:ext uri="{FF2B5EF4-FFF2-40B4-BE49-F238E27FC236}">
                <a16:creationId xmlns:a16="http://schemas.microsoft.com/office/drawing/2014/main" id="{50D99292-A2C2-3482-874E-2193BFF80A75}"/>
              </a:ext>
            </a:extLst>
          </p:cNvPr>
          <p:cNvGrpSpPr>
            <a:grpSpLocks/>
          </p:cNvGrpSpPr>
          <p:nvPr/>
        </p:nvGrpSpPr>
        <p:grpSpPr bwMode="auto">
          <a:xfrm>
            <a:off x="11002963" y="0"/>
            <a:ext cx="1163637" cy="1343025"/>
            <a:chOff x="11002424" y="0"/>
            <a:chExt cx="1163955" cy="1342390"/>
          </a:xfrm>
        </p:grpSpPr>
        <p:sp>
          <p:nvSpPr>
            <p:cNvPr id="14" name="object 3">
              <a:extLst>
                <a:ext uri="{FF2B5EF4-FFF2-40B4-BE49-F238E27FC236}">
                  <a16:creationId xmlns:a16="http://schemas.microsoft.com/office/drawing/2014/main" id="{D8501C4F-7362-2726-B7D8-10FD4F0318E1}"/>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4">
              <a:extLst>
                <a:ext uri="{FF2B5EF4-FFF2-40B4-BE49-F238E27FC236}">
                  <a16:creationId xmlns:a16="http://schemas.microsoft.com/office/drawing/2014/main" id="{66A242AF-7236-E860-B8FB-E5205D0032AB}"/>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Title 1"/>
          <p:cNvSpPr>
            <a:spLocks noGrp="1"/>
          </p:cNvSpPr>
          <p:nvPr>
            <p:ph type="title"/>
          </p:nvPr>
        </p:nvSpPr>
        <p:spPr>
          <a:xfrm>
            <a:off x="593310" y="4035779"/>
            <a:ext cx="10515600" cy="535531"/>
          </a:xfrm>
        </p:spPr>
        <p:txBody>
          <a:bodyPr anchor="b"/>
          <a:lstStyle>
            <a:lvl1pPr>
              <a:defRPr sz="3200">
                <a:solidFill>
                  <a:schemeClr val="bg1"/>
                </a:solidFill>
              </a:defRPr>
            </a:lvl1pPr>
          </a:lstStyle>
          <a:p>
            <a:r>
              <a:rPr lang="en-US"/>
              <a:t>Click to edit Master title style</a:t>
            </a:r>
          </a:p>
        </p:txBody>
      </p:sp>
      <p:sp>
        <p:nvSpPr>
          <p:cNvPr id="16" name="Date Placeholder 3">
            <a:extLst>
              <a:ext uri="{FF2B5EF4-FFF2-40B4-BE49-F238E27FC236}">
                <a16:creationId xmlns:a16="http://schemas.microsoft.com/office/drawing/2014/main" id="{F746B0FC-A355-F51B-F544-362ED96287F0}"/>
              </a:ext>
            </a:extLst>
          </p:cNvPr>
          <p:cNvSpPr>
            <a:spLocks noGrp="1"/>
          </p:cNvSpPr>
          <p:nvPr>
            <p:ph type="dt" sz="half" idx="10"/>
          </p:nvPr>
        </p:nvSpPr>
        <p:spPr/>
        <p:txBody>
          <a:bodyPr/>
          <a:lstStyle>
            <a:lvl1pPr>
              <a:defRPr/>
            </a:lvl1pPr>
          </a:lstStyle>
          <a:p>
            <a:pPr>
              <a:defRPr/>
            </a:pPr>
            <a:fld id="{7440CBB8-C35D-4EFC-81B1-C0FDB9F080F3}" type="datetime1">
              <a:rPr lang="en-US"/>
              <a:pPr>
                <a:defRPr/>
              </a:pPr>
              <a:t>1/18/26</a:t>
            </a:fld>
            <a:endParaRPr lang="en-US"/>
          </a:p>
        </p:txBody>
      </p:sp>
      <p:sp>
        <p:nvSpPr>
          <p:cNvPr id="18" name="Slide Number Placeholder 5">
            <a:extLst>
              <a:ext uri="{FF2B5EF4-FFF2-40B4-BE49-F238E27FC236}">
                <a16:creationId xmlns:a16="http://schemas.microsoft.com/office/drawing/2014/main" id="{4A21703C-81D3-C73D-C1C2-BC5484E0C467}"/>
              </a:ext>
            </a:extLst>
          </p:cNvPr>
          <p:cNvSpPr>
            <a:spLocks noGrp="1"/>
          </p:cNvSpPr>
          <p:nvPr>
            <p:ph type="sldNum" sz="quarter" idx="12"/>
          </p:nvPr>
        </p:nvSpPr>
        <p:spPr/>
        <p:txBody>
          <a:bodyPr/>
          <a:lstStyle>
            <a:lvl1pPr>
              <a:defRPr/>
            </a:lvl1pPr>
          </a:lstStyle>
          <a:p>
            <a:pPr>
              <a:defRPr/>
            </a:pPr>
            <a:fld id="{53A9C410-9DA4-4581-9E9E-FA4EC75511F7}" type="slidenum">
              <a:rPr lang="en-US"/>
              <a:pPr>
                <a:defRPr/>
              </a:pPr>
              <a:t>‹#›</a:t>
            </a:fld>
            <a:endParaRPr lang="en-US"/>
          </a:p>
        </p:txBody>
      </p:sp>
      <p:sp>
        <p:nvSpPr>
          <p:cNvPr id="7" name="Plassholder for bunntekst 1">
            <a:extLst>
              <a:ext uri="{FF2B5EF4-FFF2-40B4-BE49-F238E27FC236}">
                <a16:creationId xmlns:a16="http://schemas.microsoft.com/office/drawing/2014/main" id="{2B9FE38C-B2A0-7BA1-C4B2-B663AC88224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328025073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DAFC414C-33E3-5F90-9392-EF1F1E9F29C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DAFC414C-33E3-5F90-9392-EF1F1E9F29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A76022E7-F792-28F1-F3E6-BF7D6645BF0F}"/>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A828C247-E6E3-2674-3522-FC381F3C3DB6}"/>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09DACA1E-31E3-BAED-247C-3CE1794A306D}"/>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394AE7B1-9FB3-8BCB-05B9-C1F600956DC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59A54B32-87CA-B958-0441-229D4F1229C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3164F835-ECC8-41B1-17BE-C843DE0E198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3164F835-ECC8-41B1-17BE-C843DE0E19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object 2">
            <a:extLst>
              <a:ext uri="{FF2B5EF4-FFF2-40B4-BE49-F238E27FC236}">
                <a16:creationId xmlns:a16="http://schemas.microsoft.com/office/drawing/2014/main" id="{BE4399CD-C44F-B398-4C7F-C45AFE9FAA17}"/>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2" name="object 2">
            <a:extLst>
              <a:ext uri="{FF2B5EF4-FFF2-40B4-BE49-F238E27FC236}">
                <a16:creationId xmlns:a16="http://schemas.microsoft.com/office/drawing/2014/main" id="{ADA306DB-AF82-EA2C-9BAE-FC25C46EB869}"/>
              </a:ext>
            </a:extLst>
          </p:cNvPr>
          <p:cNvGrpSpPr>
            <a:grpSpLocks/>
          </p:cNvGrpSpPr>
          <p:nvPr/>
        </p:nvGrpSpPr>
        <p:grpSpPr bwMode="auto">
          <a:xfrm>
            <a:off x="11002963" y="0"/>
            <a:ext cx="1163637" cy="1343025"/>
            <a:chOff x="11002424" y="0"/>
            <a:chExt cx="1163955" cy="1342390"/>
          </a:xfrm>
        </p:grpSpPr>
        <p:sp>
          <p:nvSpPr>
            <p:cNvPr id="13" name="object 3">
              <a:extLst>
                <a:ext uri="{FF2B5EF4-FFF2-40B4-BE49-F238E27FC236}">
                  <a16:creationId xmlns:a16="http://schemas.microsoft.com/office/drawing/2014/main" id="{120B6BAB-870D-227A-A937-14FBB0029A25}"/>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4">
              <a:extLst>
                <a:ext uri="{FF2B5EF4-FFF2-40B4-BE49-F238E27FC236}">
                  <a16:creationId xmlns:a16="http://schemas.microsoft.com/office/drawing/2014/main" id="{831EF158-F18A-1ABE-EE9A-F6E629961A9E}"/>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Title 1"/>
          <p:cNvSpPr>
            <a:spLocks noGrp="1"/>
          </p:cNvSpPr>
          <p:nvPr>
            <p:ph type="title"/>
          </p:nvPr>
        </p:nvSpPr>
        <p:spPr>
          <a:xfrm>
            <a:off x="593310" y="4035779"/>
            <a:ext cx="10515600" cy="535531"/>
          </a:xfrm>
        </p:spPr>
        <p:txBody>
          <a:bodyPr anchor="b"/>
          <a:lstStyle>
            <a:lvl1pPr>
              <a:defRPr sz="3200">
                <a:solidFill>
                  <a:schemeClr val="bg1"/>
                </a:solidFill>
              </a:defRPr>
            </a:lvl1pPr>
          </a:lstStyle>
          <a:p>
            <a:r>
              <a:rPr lang="en-US"/>
              <a:t>Click to edit Master title style</a:t>
            </a:r>
          </a:p>
        </p:txBody>
      </p:sp>
      <p:sp>
        <p:nvSpPr>
          <p:cNvPr id="15" name="Date Placeholder 3">
            <a:extLst>
              <a:ext uri="{FF2B5EF4-FFF2-40B4-BE49-F238E27FC236}">
                <a16:creationId xmlns:a16="http://schemas.microsoft.com/office/drawing/2014/main" id="{D3C889AD-9334-0839-A464-A260C2500DDF}"/>
              </a:ext>
            </a:extLst>
          </p:cNvPr>
          <p:cNvSpPr>
            <a:spLocks noGrp="1"/>
          </p:cNvSpPr>
          <p:nvPr>
            <p:ph type="dt" sz="half" idx="10"/>
          </p:nvPr>
        </p:nvSpPr>
        <p:spPr/>
        <p:txBody>
          <a:bodyPr/>
          <a:lstStyle>
            <a:lvl1pPr>
              <a:defRPr/>
            </a:lvl1pPr>
          </a:lstStyle>
          <a:p>
            <a:pPr>
              <a:defRPr/>
            </a:pPr>
            <a:fld id="{1A358FB6-2DDF-40EF-86AC-D6063620D7BE}" type="datetime1">
              <a:rPr lang="en-US"/>
              <a:pPr>
                <a:defRPr/>
              </a:pPr>
              <a:t>1/18/26</a:t>
            </a:fld>
            <a:endParaRPr lang="en-US"/>
          </a:p>
        </p:txBody>
      </p:sp>
      <p:sp>
        <p:nvSpPr>
          <p:cNvPr id="16" name="Footer Placeholder 4">
            <a:extLst>
              <a:ext uri="{FF2B5EF4-FFF2-40B4-BE49-F238E27FC236}">
                <a16:creationId xmlns:a16="http://schemas.microsoft.com/office/drawing/2014/main" id="{FDC1C9BF-7933-8BEA-72FF-4AD65EBAFA50}"/>
              </a:ext>
            </a:extLst>
          </p:cNvPr>
          <p:cNvSpPr>
            <a:spLocks noGrp="1"/>
          </p:cNvSpPr>
          <p:nvPr>
            <p:ph type="ftr" sz="quarter" idx="11"/>
          </p:nvPr>
        </p:nvSpPr>
        <p:spPr>
          <a:xfrm>
            <a:off x="1530350" y="6542088"/>
            <a:ext cx="4464050" cy="231775"/>
          </a:xfrm>
          <a:prstGeom prst="rect">
            <a:avLst/>
          </a:prstGeom>
        </p:spPr>
        <p:txBody>
          <a:bodyPr/>
          <a:lstStyle>
            <a:lvl1pPr>
              <a:defRPr/>
            </a:lvl1pPr>
          </a:lstStyle>
          <a:p>
            <a:pPr>
              <a:defRPr/>
            </a:pPr>
            <a:r>
              <a:rPr lang="en-US"/>
              <a:t>Document title or footer</a:t>
            </a:r>
          </a:p>
        </p:txBody>
      </p:sp>
      <p:sp>
        <p:nvSpPr>
          <p:cNvPr id="17" name="Slide Number Placeholder 5">
            <a:extLst>
              <a:ext uri="{FF2B5EF4-FFF2-40B4-BE49-F238E27FC236}">
                <a16:creationId xmlns:a16="http://schemas.microsoft.com/office/drawing/2014/main" id="{91A521CA-80A5-D234-A10A-642F03FC2A1F}"/>
              </a:ext>
            </a:extLst>
          </p:cNvPr>
          <p:cNvSpPr>
            <a:spLocks noGrp="1"/>
          </p:cNvSpPr>
          <p:nvPr>
            <p:ph type="sldNum" sz="quarter" idx="12"/>
          </p:nvPr>
        </p:nvSpPr>
        <p:spPr/>
        <p:txBody>
          <a:bodyPr/>
          <a:lstStyle>
            <a:lvl1pPr>
              <a:defRPr/>
            </a:lvl1pPr>
          </a:lstStyle>
          <a:p>
            <a:pPr>
              <a:defRPr/>
            </a:pPr>
            <a:fld id="{FF5B1EC0-FB43-4236-8548-DB2B4AC4A992}" type="slidenum">
              <a:rPr lang="en-US"/>
              <a:pPr>
                <a:defRPr/>
              </a:pPr>
              <a:t>‹#›</a:t>
            </a:fld>
            <a:endParaRPr lang="en-US"/>
          </a:p>
        </p:txBody>
      </p:sp>
      <p:sp>
        <p:nvSpPr>
          <p:cNvPr id="18" name="Plassholder for bunntekst 1">
            <a:extLst>
              <a:ext uri="{FF2B5EF4-FFF2-40B4-BE49-F238E27FC236}">
                <a16:creationId xmlns:a16="http://schemas.microsoft.com/office/drawing/2014/main" id="{F6005010-82BE-06CF-FC7F-9FD11E91F578}"/>
              </a:ext>
            </a:extLst>
          </p:cNvPr>
          <p:cNvSpPr txBox="1">
            <a:spLocks/>
          </p:cNvSpPr>
          <p:nvPr userDrawn="1"/>
        </p:nvSpPr>
        <p:spPr>
          <a:xfrm>
            <a:off x="4038600" y="6354763"/>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7872650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Obj" preserve="1">
  <p:cSld name="2 Col Text">
    <p:spTree>
      <p:nvGrpSpPr>
        <p:cNvPr id="1" name=""/>
        <p:cNvGrpSpPr/>
        <p:nvPr/>
      </p:nvGrpSpPr>
      <p:grpSpPr>
        <a:xfrm>
          <a:off x="0" y="0"/>
          <a:ext cx="0" cy="0"/>
          <a:chOff x="0" y="0"/>
          <a:chExt cx="0" cy="0"/>
        </a:xfrm>
      </p:grpSpPr>
      <p:graphicFrame>
        <p:nvGraphicFramePr>
          <p:cNvPr id="5" name="Object 7" hidden="1">
            <a:extLst>
              <a:ext uri="{FF2B5EF4-FFF2-40B4-BE49-F238E27FC236}">
                <a16:creationId xmlns:a16="http://schemas.microsoft.com/office/drawing/2014/main" id="{3F923D3D-1D42-76D9-523A-5541ECDD676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a:extLst>
                          <a:ext uri="{FF2B5EF4-FFF2-40B4-BE49-F238E27FC236}">
                            <a16:creationId xmlns:a16="http://schemas.microsoft.com/office/drawing/2014/main" id="{3F923D3D-1D42-76D9-523A-5541ECDD67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object 4">
            <a:extLst>
              <a:ext uri="{FF2B5EF4-FFF2-40B4-BE49-F238E27FC236}">
                <a16:creationId xmlns:a16="http://schemas.microsoft.com/office/drawing/2014/main" id="{8B8DEFFE-D505-E3E5-1255-6D48E0648FF9}"/>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6AD458EE-DA6C-62A8-4926-4610A7E76608}"/>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9" name="object 2">
            <a:extLst>
              <a:ext uri="{FF2B5EF4-FFF2-40B4-BE49-F238E27FC236}">
                <a16:creationId xmlns:a16="http://schemas.microsoft.com/office/drawing/2014/main" id="{FCF3AE25-C8C2-9351-D2CE-1EF39E840DA9}"/>
              </a:ext>
            </a:extLst>
          </p:cNvPr>
          <p:cNvGrpSpPr>
            <a:grpSpLocks/>
          </p:cNvGrpSpPr>
          <p:nvPr/>
        </p:nvGrpSpPr>
        <p:grpSpPr bwMode="auto">
          <a:xfrm>
            <a:off x="11002963" y="-4763"/>
            <a:ext cx="1163637" cy="1343026"/>
            <a:chOff x="11002424" y="0"/>
            <a:chExt cx="1163955" cy="1342390"/>
          </a:xfrm>
        </p:grpSpPr>
        <p:sp>
          <p:nvSpPr>
            <p:cNvPr id="10" name="object 3">
              <a:extLst>
                <a:ext uri="{FF2B5EF4-FFF2-40B4-BE49-F238E27FC236}">
                  <a16:creationId xmlns:a16="http://schemas.microsoft.com/office/drawing/2014/main" id="{8528B021-57C1-BC7D-4B7E-B7B43CEC516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1" name="object 4">
              <a:extLst>
                <a:ext uri="{FF2B5EF4-FFF2-40B4-BE49-F238E27FC236}">
                  <a16:creationId xmlns:a16="http://schemas.microsoft.com/office/drawing/2014/main" id="{01AD8E99-AC3C-6317-43FB-FFE1B209BC03}"/>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2" name="Object 15" hidden="1">
            <a:extLst>
              <a:ext uri="{FF2B5EF4-FFF2-40B4-BE49-F238E27FC236}">
                <a16:creationId xmlns:a16="http://schemas.microsoft.com/office/drawing/2014/main" id="{721F7D4F-2E2E-F752-C6D0-811B1663785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2" name="Object 15" hidden="1">
                        <a:extLst>
                          <a:ext uri="{FF2B5EF4-FFF2-40B4-BE49-F238E27FC236}">
                            <a16:creationId xmlns:a16="http://schemas.microsoft.com/office/drawing/2014/main" id="{721F7D4F-2E2E-F752-C6D0-811B166378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3" name="Straight Connector 12">
            <a:extLst>
              <a:ext uri="{FF2B5EF4-FFF2-40B4-BE49-F238E27FC236}">
                <a16:creationId xmlns:a16="http://schemas.microsoft.com/office/drawing/2014/main" id="{47B14F51-4DE6-F0D1-95B0-CD3B5E046CEB}"/>
              </a:ext>
            </a:extLst>
          </p:cNvPr>
          <p:cNvCxnSpPr>
            <a:cxnSpLocks/>
          </p:cNvCxnSpPr>
          <p:nvPr/>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966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5075"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4">
            <a:extLst>
              <a:ext uri="{FF2B5EF4-FFF2-40B4-BE49-F238E27FC236}">
                <a16:creationId xmlns:a16="http://schemas.microsoft.com/office/drawing/2014/main" id="{EB00CE9B-8A4E-F064-32B8-DC2B24BFD886}"/>
              </a:ext>
            </a:extLst>
          </p:cNvPr>
          <p:cNvSpPr>
            <a:spLocks noGrp="1"/>
          </p:cNvSpPr>
          <p:nvPr>
            <p:ph type="dt" sz="half" idx="10"/>
          </p:nvPr>
        </p:nvSpPr>
        <p:spPr/>
        <p:txBody>
          <a:bodyPr/>
          <a:lstStyle>
            <a:lvl1pPr>
              <a:defRPr/>
            </a:lvl1pPr>
          </a:lstStyle>
          <a:p>
            <a:pPr>
              <a:defRPr/>
            </a:pPr>
            <a:fld id="{CDAE6C4F-DB66-4525-BC53-0DE3562D5AC0}" type="datetime1">
              <a:rPr lang="en-US"/>
              <a:pPr>
                <a:defRPr/>
              </a:pPr>
              <a:t>1/18/26</a:t>
            </a:fld>
            <a:endParaRPr lang="en-US"/>
          </a:p>
        </p:txBody>
      </p:sp>
      <p:sp>
        <p:nvSpPr>
          <p:cNvPr id="16" name="Slide Number Placeholder 6">
            <a:extLst>
              <a:ext uri="{FF2B5EF4-FFF2-40B4-BE49-F238E27FC236}">
                <a16:creationId xmlns:a16="http://schemas.microsoft.com/office/drawing/2014/main" id="{23B3A6C5-A242-C70C-4DA1-C4C6A0681269}"/>
              </a:ext>
            </a:extLst>
          </p:cNvPr>
          <p:cNvSpPr>
            <a:spLocks noGrp="1"/>
          </p:cNvSpPr>
          <p:nvPr>
            <p:ph type="sldNum" sz="quarter" idx="12"/>
          </p:nvPr>
        </p:nvSpPr>
        <p:spPr/>
        <p:txBody>
          <a:bodyPr/>
          <a:lstStyle>
            <a:lvl1pPr>
              <a:defRPr/>
            </a:lvl1pPr>
          </a:lstStyle>
          <a:p>
            <a:pPr>
              <a:defRPr/>
            </a:pPr>
            <a:fld id="{D8E32203-0D77-473D-845F-AE46FEA8C4CB}" type="slidenum">
              <a:rPr lang="en-US"/>
              <a:pPr>
                <a:defRPr/>
              </a:pPr>
              <a:t>‹#›</a:t>
            </a:fld>
            <a:endParaRPr lang="en-US"/>
          </a:p>
        </p:txBody>
      </p:sp>
      <p:sp>
        <p:nvSpPr>
          <p:cNvPr id="15" name="Plassholder for bunntekst 1">
            <a:extLst>
              <a:ext uri="{FF2B5EF4-FFF2-40B4-BE49-F238E27FC236}">
                <a16:creationId xmlns:a16="http://schemas.microsoft.com/office/drawing/2014/main" id="{22EB62A3-8075-F8B9-4546-C81328C845FC}"/>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15027683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E0F6F116-7CC2-C790-F42D-87B5198C1A7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E0F6F116-7CC2-C790-F42D-87B5198C1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8A204DA0-C288-7D4B-7BC5-16D0546F5402}"/>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7A82D2CB-9FF3-F070-69D4-9120D4479B71}"/>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0FA7F09E-2E9E-B739-E5E3-F1A471A8B5CB}"/>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0CC45B00-FFED-E5D9-5400-2ED792DAEA7D}"/>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CD030848-1567-AB60-47DE-E2F54BC80759}"/>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8572BCDC-9CB2-08D5-202C-61FF53E2473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8572BCDC-9CB2-08D5-202C-61FF53E247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1" name="Date Placeholder 2">
            <a:extLst>
              <a:ext uri="{FF2B5EF4-FFF2-40B4-BE49-F238E27FC236}">
                <a16:creationId xmlns:a16="http://schemas.microsoft.com/office/drawing/2014/main" id="{C94B6812-8304-EA88-9267-8A8324D7D529}"/>
              </a:ext>
            </a:extLst>
          </p:cNvPr>
          <p:cNvSpPr>
            <a:spLocks noGrp="1"/>
          </p:cNvSpPr>
          <p:nvPr>
            <p:ph type="dt" sz="half" idx="10"/>
          </p:nvPr>
        </p:nvSpPr>
        <p:spPr/>
        <p:txBody>
          <a:bodyPr/>
          <a:lstStyle>
            <a:lvl1pPr>
              <a:defRPr/>
            </a:lvl1pPr>
          </a:lstStyle>
          <a:p>
            <a:pPr>
              <a:defRPr/>
            </a:pPr>
            <a:fld id="{976A26B5-7399-4655-BA58-F892C5691E3B}" type="datetime1">
              <a:rPr lang="en-US"/>
              <a:pPr>
                <a:defRPr/>
              </a:pPr>
              <a:t>1/18/26</a:t>
            </a:fld>
            <a:endParaRPr lang="en-US"/>
          </a:p>
        </p:txBody>
      </p:sp>
      <p:sp>
        <p:nvSpPr>
          <p:cNvPr id="13" name="Slide Number Placeholder 4">
            <a:extLst>
              <a:ext uri="{FF2B5EF4-FFF2-40B4-BE49-F238E27FC236}">
                <a16:creationId xmlns:a16="http://schemas.microsoft.com/office/drawing/2014/main" id="{7C4D306D-59EF-2202-A075-563465687B21}"/>
              </a:ext>
            </a:extLst>
          </p:cNvPr>
          <p:cNvSpPr>
            <a:spLocks noGrp="1"/>
          </p:cNvSpPr>
          <p:nvPr>
            <p:ph type="sldNum" sz="quarter" idx="12"/>
          </p:nvPr>
        </p:nvSpPr>
        <p:spPr/>
        <p:txBody>
          <a:bodyPr/>
          <a:lstStyle>
            <a:lvl1pPr>
              <a:defRPr/>
            </a:lvl1pPr>
          </a:lstStyle>
          <a:p>
            <a:pPr>
              <a:defRPr/>
            </a:pPr>
            <a:fld id="{FF393350-37C9-4832-B7FF-C3F5408C358D}" type="slidenum">
              <a:rPr lang="en-US"/>
              <a:pPr>
                <a:defRPr/>
              </a:pPr>
              <a:t>‹#›</a:t>
            </a:fld>
            <a:endParaRPr lang="en-US"/>
          </a:p>
        </p:txBody>
      </p:sp>
      <p:sp>
        <p:nvSpPr>
          <p:cNvPr id="12" name="Plassholder for bunntekst 1">
            <a:extLst>
              <a:ext uri="{FF2B5EF4-FFF2-40B4-BE49-F238E27FC236}">
                <a16:creationId xmlns:a16="http://schemas.microsoft.com/office/drawing/2014/main" id="{A0DEBC57-7338-6FB3-4543-D4C16EDC5634}"/>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36081658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ew Hire">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4E09B618-1C5E-604F-01A7-664C8BD8CFB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4E09B618-1C5E-604F-01A7-664C8BD8CF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4">
            <a:extLst>
              <a:ext uri="{FF2B5EF4-FFF2-40B4-BE49-F238E27FC236}">
                <a16:creationId xmlns:a16="http://schemas.microsoft.com/office/drawing/2014/main" id="{A9AA54F5-FC4F-9585-A15B-47AC474F9A0D}"/>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FECA9DFD-F837-B454-2048-2852A7DFD778}"/>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7" name="object 2">
            <a:extLst>
              <a:ext uri="{FF2B5EF4-FFF2-40B4-BE49-F238E27FC236}">
                <a16:creationId xmlns:a16="http://schemas.microsoft.com/office/drawing/2014/main" id="{16ABBC01-B59A-2332-5AB7-5658CFF2B265}"/>
              </a:ext>
            </a:extLst>
          </p:cNvPr>
          <p:cNvGrpSpPr>
            <a:grpSpLocks/>
          </p:cNvGrpSpPr>
          <p:nvPr/>
        </p:nvGrpSpPr>
        <p:grpSpPr bwMode="auto">
          <a:xfrm>
            <a:off x="11002963" y="-4763"/>
            <a:ext cx="1163637" cy="1343026"/>
            <a:chOff x="11002424" y="0"/>
            <a:chExt cx="1163955" cy="1342390"/>
          </a:xfrm>
        </p:grpSpPr>
        <p:sp>
          <p:nvSpPr>
            <p:cNvPr id="8" name="object 3">
              <a:extLst>
                <a:ext uri="{FF2B5EF4-FFF2-40B4-BE49-F238E27FC236}">
                  <a16:creationId xmlns:a16="http://schemas.microsoft.com/office/drawing/2014/main" id="{3AA903F9-85DF-CB7B-1857-A26A0649CD6E}"/>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4">
              <a:extLst>
                <a:ext uri="{FF2B5EF4-FFF2-40B4-BE49-F238E27FC236}">
                  <a16:creationId xmlns:a16="http://schemas.microsoft.com/office/drawing/2014/main" id="{0542DEC0-7134-1071-6EB2-9BE285908032}"/>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0" name="Object 15" hidden="1">
            <a:extLst>
              <a:ext uri="{FF2B5EF4-FFF2-40B4-BE49-F238E27FC236}">
                <a16:creationId xmlns:a16="http://schemas.microsoft.com/office/drawing/2014/main" id="{2A0DAD43-5F49-2D42-42EA-FFAAFEE7B9A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15" hidden="1">
                        <a:extLst>
                          <a:ext uri="{FF2B5EF4-FFF2-40B4-BE49-F238E27FC236}">
                            <a16:creationId xmlns:a16="http://schemas.microsoft.com/office/drawing/2014/main" id="{2A0DAD43-5F49-2D42-42EA-FFAAFEE7B9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6">
            <a:extLst>
              <a:ext uri="{FF2B5EF4-FFF2-40B4-BE49-F238E27FC236}">
                <a16:creationId xmlns:a16="http://schemas.microsoft.com/office/drawing/2014/main" id="{2D74D509-16B0-A2A1-8421-D4F6EDEA1421}"/>
              </a:ext>
            </a:extLst>
          </p:cNvPr>
          <p:cNvSpPr txBox="1">
            <a:spLocks noChangeArrowheads="1"/>
          </p:cNvSpPr>
          <p:nvPr/>
        </p:nvSpPr>
        <p:spPr bwMode="auto">
          <a:xfrm>
            <a:off x="440055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t>Experience</a:t>
            </a:r>
          </a:p>
        </p:txBody>
      </p:sp>
      <p:sp>
        <p:nvSpPr>
          <p:cNvPr id="12" name="TextBox 17">
            <a:extLst>
              <a:ext uri="{FF2B5EF4-FFF2-40B4-BE49-F238E27FC236}">
                <a16:creationId xmlns:a16="http://schemas.microsoft.com/office/drawing/2014/main" id="{9244F968-9691-D345-8B7A-6E9063E42A1B}"/>
              </a:ext>
            </a:extLst>
          </p:cNvPr>
          <p:cNvSpPr txBox="1">
            <a:spLocks noChangeArrowheads="1"/>
          </p:cNvSpPr>
          <p:nvPr/>
        </p:nvSpPr>
        <p:spPr bwMode="auto">
          <a:xfrm>
            <a:off x="811530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t>Education</a:t>
            </a:r>
          </a:p>
        </p:txBody>
      </p:sp>
      <p:cxnSp>
        <p:nvCxnSpPr>
          <p:cNvPr id="13" name="Straight Connector 12">
            <a:extLst>
              <a:ext uri="{FF2B5EF4-FFF2-40B4-BE49-F238E27FC236}">
                <a16:creationId xmlns:a16="http://schemas.microsoft.com/office/drawing/2014/main" id="{48CB04E5-A2EF-9665-4E03-763C1E44246E}"/>
              </a:ext>
            </a:extLst>
          </p:cNvPr>
          <p:cNvCxnSpPr>
            <a:cxnSpLocks/>
          </p:cNvCxnSpPr>
          <p:nvPr/>
        </p:nvCxnSpPr>
        <p:spPr>
          <a:xfrm>
            <a:off x="7929563" y="2425700"/>
            <a:ext cx="0" cy="3246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p>
        </p:txBody>
      </p:sp>
      <p:sp>
        <p:nvSpPr>
          <p:cNvPr id="14" name="Text Placeholder 13"/>
          <p:cNvSpPr>
            <a:spLocks noGrp="1"/>
          </p:cNvSpPr>
          <p:nvPr>
            <p:ph type="body" sz="quarter" idx="13"/>
          </p:nvPr>
        </p:nvSpPr>
        <p:spPr>
          <a:xfrm>
            <a:off x="4399874" y="2425937"/>
            <a:ext cx="3343973" cy="338554"/>
          </a:xfrm>
        </p:spPr>
        <p:txBody>
          <a:bodyPr/>
          <a:lstStyle>
            <a:lvl1pPr>
              <a:defRPr/>
            </a:lvl1pPr>
          </a:lstStyle>
          <a:p>
            <a:pPr lvl="0"/>
            <a:r>
              <a:rPr lang="en-US"/>
              <a:t>Click to edit Master text styles</a:t>
            </a:r>
          </a:p>
        </p:txBody>
      </p:sp>
      <p:sp>
        <p:nvSpPr>
          <p:cNvPr id="22" name="Text Placeholder 13"/>
          <p:cNvSpPr>
            <a:spLocks noGrp="1"/>
          </p:cNvSpPr>
          <p:nvPr>
            <p:ph type="body" sz="quarter" idx="14"/>
          </p:nvPr>
        </p:nvSpPr>
        <p:spPr>
          <a:xfrm>
            <a:off x="8115326" y="2425937"/>
            <a:ext cx="3159132" cy="338554"/>
          </a:xfrm>
        </p:spPr>
        <p:txBody>
          <a:bodyPr/>
          <a:lstStyle>
            <a:lvl1pPr>
              <a:defRPr/>
            </a:lvl1pPr>
          </a:lstStyle>
          <a:p>
            <a:pPr lvl="0"/>
            <a:r>
              <a:rPr lang="en-US"/>
              <a:t>Click to edit Master text styles</a:t>
            </a:r>
          </a:p>
        </p:txBody>
      </p:sp>
      <p:sp>
        <p:nvSpPr>
          <p:cNvPr id="24" name="Text Placeholder 23"/>
          <p:cNvSpPr>
            <a:spLocks noGrp="1"/>
          </p:cNvSpPr>
          <p:nvPr>
            <p:ph type="body" sz="quarter" idx="15"/>
          </p:nvPr>
        </p:nvSpPr>
        <p:spPr>
          <a:xfrm>
            <a:off x="600075" y="1998098"/>
            <a:ext cx="3341688" cy="338554"/>
          </a:xfrm>
        </p:spPr>
        <p:txBody>
          <a:bodyPr/>
          <a:lstStyle>
            <a:lvl1pPr marL="0" indent="0">
              <a:buNone/>
              <a:defRPr b="1"/>
            </a:lvl1pPr>
          </a:lstStyle>
          <a:p>
            <a:pPr lvl="0"/>
            <a:r>
              <a:rPr lang="en-US"/>
              <a:t>Click to edit Master text styles</a:t>
            </a:r>
          </a:p>
        </p:txBody>
      </p:sp>
      <p:sp>
        <p:nvSpPr>
          <p:cNvPr id="26" name="Picture Placeholder 25"/>
          <p:cNvSpPr>
            <a:spLocks noGrp="1"/>
          </p:cNvSpPr>
          <p:nvPr>
            <p:ph type="pic" sz="quarter" idx="16"/>
          </p:nvPr>
        </p:nvSpPr>
        <p:spPr>
          <a:xfrm>
            <a:off x="695325" y="2425937"/>
            <a:ext cx="3246438" cy="3246539"/>
          </a:xfrm>
        </p:spPr>
        <p:txBody>
          <a:bodyPr rtlCol="0" anchor="ctr"/>
          <a:lstStyle>
            <a:lvl1pPr marL="0" indent="0" algn="ctr">
              <a:buNone/>
              <a:defRPr sz="1000"/>
            </a:lvl1pPr>
          </a:lstStyle>
          <a:p>
            <a:pPr lvl="0"/>
            <a:r>
              <a:rPr lang="en-US" noProof="0"/>
              <a:t>Click icon to add picture</a:t>
            </a:r>
          </a:p>
        </p:txBody>
      </p:sp>
      <p:sp>
        <p:nvSpPr>
          <p:cNvPr id="15" name="Date Placeholder 2">
            <a:extLst>
              <a:ext uri="{FF2B5EF4-FFF2-40B4-BE49-F238E27FC236}">
                <a16:creationId xmlns:a16="http://schemas.microsoft.com/office/drawing/2014/main" id="{C7173B94-0810-BD15-F998-EDBC5956C189}"/>
              </a:ext>
            </a:extLst>
          </p:cNvPr>
          <p:cNvSpPr>
            <a:spLocks noGrp="1"/>
          </p:cNvSpPr>
          <p:nvPr>
            <p:ph type="dt" sz="half" idx="17"/>
          </p:nvPr>
        </p:nvSpPr>
        <p:spPr/>
        <p:txBody>
          <a:bodyPr/>
          <a:lstStyle>
            <a:lvl1pPr>
              <a:defRPr/>
            </a:lvl1pPr>
          </a:lstStyle>
          <a:p>
            <a:pPr>
              <a:defRPr/>
            </a:pPr>
            <a:fld id="{6114B065-14FE-4C11-B5DD-7D1263E2E088}" type="datetime1">
              <a:rPr lang="en-US"/>
              <a:pPr>
                <a:defRPr/>
              </a:pPr>
              <a:t>1/18/26</a:t>
            </a:fld>
            <a:endParaRPr lang="en-US"/>
          </a:p>
        </p:txBody>
      </p:sp>
      <p:sp>
        <p:nvSpPr>
          <p:cNvPr id="16" name="Footer Placeholder 3">
            <a:extLst>
              <a:ext uri="{FF2B5EF4-FFF2-40B4-BE49-F238E27FC236}">
                <a16:creationId xmlns:a16="http://schemas.microsoft.com/office/drawing/2014/main" id="{8360345A-1C4E-326E-8A92-A9EB02240FA1}"/>
              </a:ext>
            </a:extLst>
          </p:cNvPr>
          <p:cNvSpPr>
            <a:spLocks noGrp="1"/>
          </p:cNvSpPr>
          <p:nvPr>
            <p:ph type="ftr" sz="quarter" idx="18"/>
          </p:nvPr>
        </p:nvSpPr>
        <p:spPr>
          <a:xfrm>
            <a:off x="1530350" y="6542088"/>
            <a:ext cx="4464050" cy="231775"/>
          </a:xfrm>
          <a:prstGeom prst="rect">
            <a:avLst/>
          </a:prstGeom>
        </p:spPr>
        <p:txBody>
          <a:bodyPr/>
          <a:lstStyle>
            <a:lvl1pPr>
              <a:defRPr/>
            </a:lvl1pPr>
          </a:lstStyle>
          <a:p>
            <a:pPr>
              <a:defRPr/>
            </a:pPr>
            <a:r>
              <a:rPr lang="en-US"/>
              <a:t>Document title or footer</a:t>
            </a:r>
          </a:p>
        </p:txBody>
      </p:sp>
      <p:sp>
        <p:nvSpPr>
          <p:cNvPr id="17" name="Slide Number Placeholder 4">
            <a:extLst>
              <a:ext uri="{FF2B5EF4-FFF2-40B4-BE49-F238E27FC236}">
                <a16:creationId xmlns:a16="http://schemas.microsoft.com/office/drawing/2014/main" id="{CE58CB72-6068-4E5F-413F-DC9CA3779248}"/>
              </a:ext>
            </a:extLst>
          </p:cNvPr>
          <p:cNvSpPr>
            <a:spLocks noGrp="1"/>
          </p:cNvSpPr>
          <p:nvPr>
            <p:ph type="sldNum" sz="quarter" idx="19"/>
          </p:nvPr>
        </p:nvSpPr>
        <p:spPr/>
        <p:txBody>
          <a:bodyPr/>
          <a:lstStyle>
            <a:lvl1pPr>
              <a:defRPr/>
            </a:lvl1pPr>
          </a:lstStyle>
          <a:p>
            <a:pPr>
              <a:defRPr/>
            </a:pPr>
            <a:fld id="{8D7C2F7B-2B27-476D-93CB-195E5C9FCF3D}" type="slidenum">
              <a:rPr lang="en-US"/>
              <a:pPr>
                <a:defRPr/>
              </a:pPr>
              <a:t>‹#›</a:t>
            </a:fld>
            <a:endParaRPr lang="en-US"/>
          </a:p>
        </p:txBody>
      </p:sp>
      <p:sp>
        <p:nvSpPr>
          <p:cNvPr id="18" name="Plassholder for bunntekst 1">
            <a:extLst>
              <a:ext uri="{FF2B5EF4-FFF2-40B4-BE49-F238E27FC236}">
                <a16:creationId xmlns:a16="http://schemas.microsoft.com/office/drawing/2014/main" id="{1B8432C3-335E-3773-F5D6-B9D3604A2449}"/>
              </a:ext>
            </a:extLst>
          </p:cNvPr>
          <p:cNvSpPr txBox="1">
            <a:spLocks/>
          </p:cNvSpPr>
          <p:nvPr userDrawn="1"/>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23194727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5" hidden="1">
            <a:extLst>
              <a:ext uri="{FF2B5EF4-FFF2-40B4-BE49-F238E27FC236}">
                <a16:creationId xmlns:a16="http://schemas.microsoft.com/office/drawing/2014/main" id="{9BF13493-9F4E-387B-200D-AC8854CFA6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5" hidden="1">
                        <a:extLst>
                          <a:ext uri="{FF2B5EF4-FFF2-40B4-BE49-F238E27FC236}">
                            <a16:creationId xmlns:a16="http://schemas.microsoft.com/office/drawing/2014/main" id="{9BF13493-9F4E-387B-200D-AC8854CFA6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5">
            <a:extLst>
              <a:ext uri="{FF2B5EF4-FFF2-40B4-BE49-F238E27FC236}">
                <a16:creationId xmlns:a16="http://schemas.microsoft.com/office/drawing/2014/main" id="{436112E5-1EDF-BA0B-A946-3183263E48AD}"/>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6">
            <a:extLst>
              <a:ext uri="{FF2B5EF4-FFF2-40B4-BE49-F238E27FC236}">
                <a16:creationId xmlns:a16="http://schemas.microsoft.com/office/drawing/2014/main" id="{80364CA2-E92F-1F21-C733-F3188157966C}"/>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7">
            <a:extLst>
              <a:ext uri="{FF2B5EF4-FFF2-40B4-BE49-F238E27FC236}">
                <a16:creationId xmlns:a16="http://schemas.microsoft.com/office/drawing/2014/main" id="{739E404D-6C76-32F3-2A7E-D6EBE9EF30A3}"/>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8086C92A-392E-5A55-68C1-24C71EDBA333}"/>
              </a:ext>
            </a:extLst>
          </p:cNvPr>
          <p:cNvSpPr>
            <a:spLocks/>
          </p:cNvSpPr>
          <p:nvPr/>
        </p:nvSpPr>
        <p:spPr bwMode="auto">
          <a:xfrm>
            <a:off x="679450" y="698500"/>
            <a:ext cx="1800225" cy="681038"/>
          </a:xfrm>
          <a:custGeom>
            <a:avLst/>
            <a:gdLst>
              <a:gd name="T0" fmla="*/ 0 w 634365"/>
              <a:gd name="T1" fmla="*/ 669533 h 240029"/>
              <a:gd name="T2" fmla="*/ 137164 w 634365"/>
              <a:gd name="T3" fmla="*/ 0 h 240029"/>
              <a:gd name="T4" fmla="*/ 294568 w 634365"/>
              <a:gd name="T5" fmla="*/ 669533 h 240029"/>
              <a:gd name="T6" fmla="*/ 269833 w 634365"/>
              <a:gd name="T7" fmla="*/ 437338 h 240029"/>
              <a:gd name="T8" fmla="*/ 294568 w 634365"/>
              <a:gd name="T9" fmla="*/ 205141 h 240029"/>
              <a:gd name="T10" fmla="*/ 294568 w 634365"/>
              <a:gd name="T11" fmla="*/ 669533 h 240029"/>
              <a:gd name="T12" fmla="*/ 1209753 w 634365"/>
              <a:gd name="T13" fmla="*/ 669533 h 240029"/>
              <a:gd name="T14" fmla="*/ 1346920 w 634365"/>
              <a:gd name="T15" fmla="*/ 0 h 240029"/>
              <a:gd name="T16" fmla="*/ 1639240 w 634365"/>
              <a:gd name="T17" fmla="*/ 669533 h 240029"/>
              <a:gd name="T18" fmla="*/ 1346920 w 634365"/>
              <a:gd name="T19" fmla="*/ 437338 h 240029"/>
              <a:gd name="T20" fmla="*/ 1639240 w 634365"/>
              <a:gd name="T21" fmla="*/ 205141 h 240029"/>
              <a:gd name="T22" fmla="*/ 1639240 w 634365"/>
              <a:gd name="T23" fmla="*/ 669533 h 240029"/>
              <a:gd name="T24" fmla="*/ 549048 w 634365"/>
              <a:gd name="T25" fmla="*/ 667913 h 240029"/>
              <a:gd name="T26" fmla="*/ 479271 w 634365"/>
              <a:gd name="T27" fmla="*/ 568581 h 240029"/>
              <a:gd name="T28" fmla="*/ 472208 w 634365"/>
              <a:gd name="T29" fmla="*/ 205141 h 240029"/>
              <a:gd name="T30" fmla="*/ 604925 w 634365"/>
              <a:gd name="T31" fmla="*/ 450864 h 240029"/>
              <a:gd name="T32" fmla="*/ 613027 w 634365"/>
              <a:gd name="T33" fmla="*/ 534837 h 240029"/>
              <a:gd name="T34" fmla="*/ 670087 w 634365"/>
              <a:gd name="T35" fmla="*/ 570343 h 240029"/>
              <a:gd name="T36" fmla="*/ 879208 w 634365"/>
              <a:gd name="T37" fmla="*/ 604158 h 240029"/>
              <a:gd name="T38" fmla="*/ 724650 w 634365"/>
              <a:gd name="T39" fmla="*/ 636106 h 240029"/>
              <a:gd name="T40" fmla="*/ 664009 w 634365"/>
              <a:gd name="T41" fmla="*/ 675485 h 240029"/>
              <a:gd name="T42" fmla="*/ 879208 w 634365"/>
              <a:gd name="T43" fmla="*/ 570343 h 240029"/>
              <a:gd name="T44" fmla="*/ 705748 w 634365"/>
              <a:gd name="T45" fmla="*/ 563721 h 240029"/>
              <a:gd name="T46" fmla="*/ 742498 w 634365"/>
              <a:gd name="T47" fmla="*/ 505672 h 240029"/>
              <a:gd name="T48" fmla="*/ 746539 w 634365"/>
              <a:gd name="T49" fmla="*/ 205141 h 240029"/>
              <a:gd name="T50" fmla="*/ 879208 w 634365"/>
              <a:gd name="T51" fmla="*/ 570343 h 240029"/>
              <a:gd name="T52" fmla="*/ 746539 w 634365"/>
              <a:gd name="T53" fmla="*/ 669533 h 240029"/>
              <a:gd name="T54" fmla="*/ 879208 w 634365"/>
              <a:gd name="T55" fmla="*/ 604158 h 240029"/>
              <a:gd name="T56" fmla="*/ 1149041 w 634365"/>
              <a:gd name="T57" fmla="*/ 669533 h 240029"/>
              <a:gd name="T58" fmla="*/ 1040195 w 634365"/>
              <a:gd name="T59" fmla="*/ 664321 h 240029"/>
              <a:gd name="T60" fmla="*/ 970067 w 634365"/>
              <a:gd name="T61" fmla="*/ 604862 h 240029"/>
              <a:gd name="T62" fmla="*/ 962407 w 634365"/>
              <a:gd name="T63" fmla="*/ 0 h 240029"/>
              <a:gd name="T64" fmla="*/ 1099571 w 634365"/>
              <a:gd name="T65" fmla="*/ 504968 h 240029"/>
              <a:gd name="T66" fmla="*/ 1100028 w 634365"/>
              <a:gd name="T67" fmla="*/ 530186 h 240029"/>
              <a:gd name="T68" fmla="*/ 1124834 w 634365"/>
              <a:gd name="T69" fmla="*/ 554423 h 240029"/>
              <a:gd name="T70" fmla="*/ 1149041 w 634365"/>
              <a:gd name="T71" fmla="*/ 669533 h 240029"/>
              <a:gd name="T72" fmla="*/ 1706698 w 634365"/>
              <a:gd name="T73" fmla="*/ 214161 h 240029"/>
              <a:gd name="T74" fmla="*/ 1742676 w 634365"/>
              <a:gd name="T75" fmla="*/ 205141 h 240029"/>
              <a:gd name="T76" fmla="*/ 1729185 w 634365"/>
              <a:gd name="T77" fmla="*/ 247973 h 240029"/>
              <a:gd name="T78" fmla="*/ 1720189 w 634365"/>
              <a:gd name="T79" fmla="*/ 214161 h 240029"/>
              <a:gd name="T80" fmla="*/ 1729185 w 634365"/>
              <a:gd name="T81" fmla="*/ 247973 h 240029"/>
              <a:gd name="T82" fmla="*/ 1749422 w 634365"/>
              <a:gd name="T83" fmla="*/ 247973 h 240029"/>
              <a:gd name="T84" fmla="*/ 1765164 w 634365"/>
              <a:gd name="T85" fmla="*/ 205141 h 240029"/>
              <a:gd name="T86" fmla="*/ 1760666 w 634365"/>
              <a:gd name="T87" fmla="*/ 218669 h 240029"/>
              <a:gd name="T88" fmla="*/ 1782806 w 634365"/>
              <a:gd name="T89" fmla="*/ 234447 h 240029"/>
              <a:gd name="T90" fmla="*/ 1783153 w 634365"/>
              <a:gd name="T91" fmla="*/ 205141 h 240029"/>
              <a:gd name="T92" fmla="*/ 1798891 w 634365"/>
              <a:gd name="T93" fmla="*/ 218669 h 240029"/>
              <a:gd name="T94" fmla="*/ 1782806 w 634365"/>
              <a:gd name="T95" fmla="*/ 234447 h 240029"/>
              <a:gd name="T96" fmla="*/ 1769659 w 634365"/>
              <a:gd name="T97" fmla="*/ 247973 h 240029"/>
              <a:gd name="T98" fmla="*/ 1769312 w 634365"/>
              <a:gd name="T99" fmla="*/ 218669 h 240029"/>
              <a:gd name="T100" fmla="*/ 1782806 w 634365"/>
              <a:gd name="T101" fmla="*/ 234447 h 240029"/>
              <a:gd name="T102" fmla="*/ 1798891 w 634365"/>
              <a:gd name="T103" fmla="*/ 247973 h 240029"/>
              <a:gd name="T104" fmla="*/ 1787648 w 634365"/>
              <a:gd name="T105" fmla="*/ 218669 h 240029"/>
              <a:gd name="T106" fmla="*/ 1798891 w 634365"/>
              <a:gd name="T107" fmla="*/ 247973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 name="Subtitle 2"/>
          <p:cNvSpPr>
            <a:spLocks noGrp="1"/>
          </p:cNvSpPr>
          <p:nvPr>
            <p:ph type="subTitle" idx="1"/>
          </p:nvPr>
        </p:nvSpPr>
        <p:spPr>
          <a:xfrm>
            <a:off x="596348" y="3414411"/>
            <a:ext cx="9144000" cy="40011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007944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2 Col Text">
    <p:spTree>
      <p:nvGrpSpPr>
        <p:cNvPr id="1" name=""/>
        <p:cNvGrpSpPr/>
        <p:nvPr/>
      </p:nvGrpSpPr>
      <p:grpSpPr>
        <a:xfrm>
          <a:off x="0" y="0"/>
          <a:ext cx="0" cy="0"/>
          <a:chOff x="0" y="0"/>
          <a:chExt cx="0" cy="0"/>
        </a:xfrm>
      </p:grpSpPr>
      <p:graphicFrame>
        <p:nvGraphicFramePr>
          <p:cNvPr id="5" name="Object 16" hidden="1">
            <a:extLst>
              <a:ext uri="{FF2B5EF4-FFF2-40B4-BE49-F238E27FC236}">
                <a16:creationId xmlns:a16="http://schemas.microsoft.com/office/drawing/2014/main" id="{FB27E279-D66D-4185-8EB9-602BF008EB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16" hidden="1">
                        <a:extLst>
                          <a:ext uri="{FF2B5EF4-FFF2-40B4-BE49-F238E27FC236}">
                            <a16:creationId xmlns:a16="http://schemas.microsoft.com/office/drawing/2014/main" id="{FB27E279-D66D-4185-8EB9-602BF008EB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a:extLst>
              <a:ext uri="{FF2B5EF4-FFF2-40B4-BE49-F238E27FC236}">
                <a16:creationId xmlns:a16="http://schemas.microsoft.com/office/drawing/2014/main" id="{848BBCD0-E238-40CE-8B6A-D577594D649B}"/>
              </a:ext>
            </a:extLst>
          </p:cNvPr>
          <p:cNvCxnSpPr>
            <a:cxnSpLocks/>
          </p:cNvCxnSpPr>
          <p:nvPr/>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966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5075"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4">
            <a:extLst>
              <a:ext uri="{FF2B5EF4-FFF2-40B4-BE49-F238E27FC236}">
                <a16:creationId xmlns:a16="http://schemas.microsoft.com/office/drawing/2014/main" id="{49FB24CA-604B-4AD0-BEEF-E5687397762C}"/>
              </a:ext>
            </a:extLst>
          </p:cNvPr>
          <p:cNvSpPr>
            <a:spLocks noGrp="1"/>
          </p:cNvSpPr>
          <p:nvPr>
            <p:ph type="dt" sz="half" idx="10"/>
          </p:nvPr>
        </p:nvSpPr>
        <p:spPr/>
        <p:txBody>
          <a:bodyPr/>
          <a:lstStyle>
            <a:lvl1pPr>
              <a:defRPr/>
            </a:lvl1pPr>
          </a:lstStyle>
          <a:p>
            <a:pPr>
              <a:defRPr/>
            </a:pPr>
            <a:fld id="{CA310F9B-7B47-4D72-8D8B-0A480C6D9CE9}" type="datetime1">
              <a:rPr lang="en-US"/>
              <a:pPr>
                <a:defRPr/>
              </a:pPr>
              <a:t>1/18/26</a:t>
            </a:fld>
            <a:endParaRPr lang="en-US"/>
          </a:p>
        </p:txBody>
      </p:sp>
      <p:sp>
        <p:nvSpPr>
          <p:cNvPr id="8" name="Footer Placeholder 5">
            <a:extLst>
              <a:ext uri="{FF2B5EF4-FFF2-40B4-BE49-F238E27FC236}">
                <a16:creationId xmlns:a16="http://schemas.microsoft.com/office/drawing/2014/main" id="{68055116-DB68-4289-AAF0-327F0B98569F}"/>
              </a:ext>
            </a:extLst>
          </p:cNvPr>
          <p:cNvSpPr>
            <a:spLocks noGrp="1"/>
          </p:cNvSpPr>
          <p:nvPr>
            <p:ph type="ftr" sz="quarter" idx="11"/>
          </p:nvPr>
        </p:nvSpPr>
        <p:spPr>
          <a:xfrm>
            <a:off x="1530350" y="6542088"/>
            <a:ext cx="7034213" cy="231775"/>
          </a:xfrm>
        </p:spPr>
        <p:txBody>
          <a:bodyPr/>
          <a:lstStyle>
            <a:lvl1pPr>
              <a:defRPr/>
            </a:lvl1pPr>
          </a:lstStyle>
          <a:p>
            <a:pPr>
              <a:defRPr/>
            </a:pPr>
            <a:r>
              <a:rPr lang="en-US" altLang="en-US"/>
              <a:t>Sigma2 site visit</a:t>
            </a:r>
            <a:endParaRPr lang="en-US"/>
          </a:p>
        </p:txBody>
      </p:sp>
      <p:sp>
        <p:nvSpPr>
          <p:cNvPr id="9" name="Slide Number Placeholder 6">
            <a:extLst>
              <a:ext uri="{FF2B5EF4-FFF2-40B4-BE49-F238E27FC236}">
                <a16:creationId xmlns:a16="http://schemas.microsoft.com/office/drawing/2014/main" id="{3F994A01-CD65-4A20-B523-993E6B4F17B6}"/>
              </a:ext>
            </a:extLst>
          </p:cNvPr>
          <p:cNvSpPr>
            <a:spLocks noGrp="1"/>
          </p:cNvSpPr>
          <p:nvPr>
            <p:ph type="sldNum" sz="quarter" idx="12"/>
          </p:nvPr>
        </p:nvSpPr>
        <p:spPr/>
        <p:txBody>
          <a:bodyPr/>
          <a:lstStyle>
            <a:lvl1pPr>
              <a:defRPr/>
            </a:lvl1pPr>
          </a:lstStyle>
          <a:p>
            <a:pPr>
              <a:defRPr/>
            </a:pPr>
            <a:fld id="{F36A6FD9-F85D-464E-AAB7-26C9D5632F1C}" type="slidenum">
              <a:rPr lang="en-US"/>
              <a:pPr>
                <a:defRPr/>
              </a:pPr>
              <a:t>‹#›</a:t>
            </a:fld>
            <a:endParaRPr lang="en-US"/>
          </a:p>
        </p:txBody>
      </p:sp>
    </p:spTree>
    <p:extLst>
      <p:ext uri="{BB962C8B-B14F-4D97-AF65-F5344CB8AC3E}">
        <p14:creationId xmlns:p14="http://schemas.microsoft.com/office/powerpoint/2010/main" val="39254259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5CA9BBD4-4602-1C12-A421-743AF6893E0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5CA9BBD4-4602-1C12-A421-743AF6893E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2">
            <a:extLst>
              <a:ext uri="{FF2B5EF4-FFF2-40B4-BE49-F238E27FC236}">
                <a16:creationId xmlns:a16="http://schemas.microsoft.com/office/drawing/2014/main" id="{F2E7DEA7-FDEA-8FF3-6428-7184E72F7C50}"/>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4">
            <a:extLst>
              <a:ext uri="{FF2B5EF4-FFF2-40B4-BE49-F238E27FC236}">
                <a16:creationId xmlns:a16="http://schemas.microsoft.com/office/drawing/2014/main" id="{5D0E2130-7F18-7B91-3389-1D74DCF55DB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28ECD89E-C3FF-43F4-AC4A-6C0E4C2FD2AE}"/>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TextBox 23">
            <a:extLst>
              <a:ext uri="{FF2B5EF4-FFF2-40B4-BE49-F238E27FC236}">
                <a16:creationId xmlns:a16="http://schemas.microsoft.com/office/drawing/2014/main" id="{A1AF82DA-08C2-A2F4-6D96-6A932C9716BB}"/>
              </a:ext>
            </a:extLst>
          </p:cNvPr>
          <p:cNvSpPr txBox="1">
            <a:spLocks noChangeArrowheads="1"/>
          </p:cNvSpPr>
          <p:nvPr/>
        </p:nvSpPr>
        <p:spPr bwMode="auto">
          <a:xfrm>
            <a:off x="5397500" y="6542088"/>
            <a:ext cx="1768475" cy="231775"/>
          </a:xfrm>
          <a:prstGeom prst="rect">
            <a:avLst/>
          </a:prstGeom>
          <a:noFill/>
          <a:ln w="9525">
            <a:solidFill>
              <a:schemeClr val="bg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nb-NO" sz="900">
                <a:solidFill>
                  <a:schemeClr val="bg1"/>
                </a:solidFill>
              </a:rPr>
              <a:t>CLASSIFICATION: INTERNAL</a:t>
            </a:r>
          </a:p>
        </p:txBody>
      </p:sp>
      <p:grpSp>
        <p:nvGrpSpPr>
          <p:cNvPr id="9" name="object 2">
            <a:extLst>
              <a:ext uri="{FF2B5EF4-FFF2-40B4-BE49-F238E27FC236}">
                <a16:creationId xmlns:a16="http://schemas.microsoft.com/office/drawing/2014/main" id="{DF515BCB-1586-AF7A-0747-DD020FBF27E1}"/>
              </a:ext>
            </a:extLst>
          </p:cNvPr>
          <p:cNvGrpSpPr>
            <a:grpSpLocks/>
          </p:cNvGrpSpPr>
          <p:nvPr/>
        </p:nvGrpSpPr>
        <p:grpSpPr bwMode="auto">
          <a:xfrm>
            <a:off x="11002963" y="-4763"/>
            <a:ext cx="1163637" cy="1343026"/>
            <a:chOff x="11002424" y="0"/>
            <a:chExt cx="1163955" cy="1342390"/>
          </a:xfrm>
        </p:grpSpPr>
        <p:sp>
          <p:nvSpPr>
            <p:cNvPr id="10" name="object 3">
              <a:extLst>
                <a:ext uri="{FF2B5EF4-FFF2-40B4-BE49-F238E27FC236}">
                  <a16:creationId xmlns:a16="http://schemas.microsoft.com/office/drawing/2014/main" id="{0335CEE5-A4F7-1874-3C8E-6A4E3FAAF77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1" name="object 4">
              <a:extLst>
                <a:ext uri="{FF2B5EF4-FFF2-40B4-BE49-F238E27FC236}">
                  <a16:creationId xmlns:a16="http://schemas.microsoft.com/office/drawing/2014/main" id="{7023EB80-B3BD-751E-6D78-4BA121F475FD}"/>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2" name="Object 16" hidden="1">
            <a:extLst>
              <a:ext uri="{FF2B5EF4-FFF2-40B4-BE49-F238E27FC236}">
                <a16:creationId xmlns:a16="http://schemas.microsoft.com/office/drawing/2014/main" id="{A180D372-6A69-8BA5-B18D-F98B49AC290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2" name="Object 16" hidden="1">
                        <a:extLst>
                          <a:ext uri="{FF2B5EF4-FFF2-40B4-BE49-F238E27FC236}">
                            <a16:creationId xmlns:a16="http://schemas.microsoft.com/office/drawing/2014/main" id="{A180D372-6A69-8BA5-B18D-F98B49AC29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object 2">
            <a:extLst>
              <a:ext uri="{FF2B5EF4-FFF2-40B4-BE49-F238E27FC236}">
                <a16:creationId xmlns:a16="http://schemas.microsoft.com/office/drawing/2014/main" id="{3E72EF92-51FD-68A6-D7FB-17CCA310AA1B}"/>
              </a:ext>
            </a:extLst>
          </p:cNvPr>
          <p:cNvSpPr>
            <a:spLocks/>
          </p:cNvSpPr>
          <p:nvPr/>
        </p:nvSpPr>
        <p:spPr bwMode="auto">
          <a:xfrm>
            <a:off x="0" y="0"/>
            <a:ext cx="12192000" cy="6858000"/>
          </a:xfrm>
          <a:custGeom>
            <a:avLst/>
            <a:gdLst>
              <a:gd name="T0" fmla="*/ 12192000 w 12192000"/>
              <a:gd name="T1" fmla="*/ 0 h 6858000"/>
              <a:gd name="T2" fmla="*/ 0 w 12192000"/>
              <a:gd name="T3" fmla="*/ 0 h 6858000"/>
              <a:gd name="T4" fmla="*/ 0 w 12192000"/>
              <a:gd name="T5" fmla="*/ 6858000 h 6858000"/>
              <a:gd name="T6" fmla="*/ 12192000 w 12192000"/>
              <a:gd name="T7" fmla="*/ 6858000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5">
            <a:extLst>
              <a:ext uri="{FF2B5EF4-FFF2-40B4-BE49-F238E27FC236}">
                <a16:creationId xmlns:a16="http://schemas.microsoft.com/office/drawing/2014/main" id="{11A39EA0-8290-4938-70ED-E808DC7BB654}"/>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6">
            <a:extLst>
              <a:ext uri="{FF2B5EF4-FFF2-40B4-BE49-F238E27FC236}">
                <a16:creationId xmlns:a16="http://schemas.microsoft.com/office/drawing/2014/main" id="{6B2D8088-D0DD-C27D-1381-CAFA72205640}"/>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7">
            <a:extLst>
              <a:ext uri="{FF2B5EF4-FFF2-40B4-BE49-F238E27FC236}">
                <a16:creationId xmlns:a16="http://schemas.microsoft.com/office/drawing/2014/main" id="{5FF76782-57BC-BE42-E73C-A9AB26733353}"/>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7" name="object 3">
            <a:extLst>
              <a:ext uri="{FF2B5EF4-FFF2-40B4-BE49-F238E27FC236}">
                <a16:creationId xmlns:a16="http://schemas.microsoft.com/office/drawing/2014/main" id="{D0A407CD-AD19-2B11-5CCF-C356517B1B5D}"/>
              </a:ext>
            </a:extLst>
          </p:cNvPr>
          <p:cNvSpPr>
            <a:spLocks/>
          </p:cNvSpPr>
          <p:nvPr/>
        </p:nvSpPr>
        <p:spPr bwMode="auto">
          <a:xfrm>
            <a:off x="684213" y="698500"/>
            <a:ext cx="1790700" cy="676275"/>
          </a:xfrm>
          <a:custGeom>
            <a:avLst/>
            <a:gdLst>
              <a:gd name="T0" fmla="*/ 0 w 1791335"/>
              <a:gd name="T1" fmla="*/ 664746 h 675640"/>
              <a:gd name="T2" fmla="*/ 136495 w 1791335"/>
              <a:gd name="T3" fmla="*/ 0 h 675640"/>
              <a:gd name="T4" fmla="*/ 293128 w 1791335"/>
              <a:gd name="T5" fmla="*/ 664746 h 675640"/>
              <a:gd name="T6" fmla="*/ 268514 w 1791335"/>
              <a:gd name="T7" fmla="*/ 434212 h 675640"/>
              <a:gd name="T8" fmla="*/ 293128 w 1791335"/>
              <a:gd name="T9" fmla="*/ 203676 h 675640"/>
              <a:gd name="T10" fmla="*/ 293128 w 1791335"/>
              <a:gd name="T11" fmla="*/ 664746 h 675640"/>
              <a:gd name="T12" fmla="*/ 1203839 w 1791335"/>
              <a:gd name="T13" fmla="*/ 664746 h 675640"/>
              <a:gd name="T14" fmla="*/ 1340335 w 1791335"/>
              <a:gd name="T15" fmla="*/ 0 h 675640"/>
              <a:gd name="T16" fmla="*/ 1631226 w 1791335"/>
              <a:gd name="T17" fmla="*/ 664746 h 675640"/>
              <a:gd name="T18" fmla="*/ 1340335 w 1791335"/>
              <a:gd name="T19" fmla="*/ 434212 h 675640"/>
              <a:gd name="T20" fmla="*/ 1631226 w 1791335"/>
              <a:gd name="T21" fmla="*/ 203676 h 675640"/>
              <a:gd name="T22" fmla="*/ 1631226 w 1791335"/>
              <a:gd name="T23" fmla="*/ 664746 h 675640"/>
              <a:gd name="T24" fmla="*/ 567019 w 1791335"/>
              <a:gd name="T25" fmla="*/ 670217 h 675640"/>
              <a:gd name="T26" fmla="*/ 500947 w 1791335"/>
              <a:gd name="T27" fmla="*/ 625578 h 675640"/>
              <a:gd name="T28" fmla="*/ 472914 w 1791335"/>
              <a:gd name="T29" fmla="*/ 539158 h 675640"/>
              <a:gd name="T30" fmla="*/ 469900 w 1791335"/>
              <a:gd name="T31" fmla="*/ 203676 h 675640"/>
              <a:gd name="T32" fmla="*/ 601968 w 1791335"/>
              <a:gd name="T33" fmla="*/ 447640 h 675640"/>
              <a:gd name="T34" fmla="*/ 610031 w 1791335"/>
              <a:gd name="T35" fmla="*/ 531014 h 675640"/>
              <a:gd name="T36" fmla="*/ 666811 w 1791335"/>
              <a:gd name="T37" fmla="*/ 566266 h 675640"/>
              <a:gd name="T38" fmla="*/ 874910 w 1791335"/>
              <a:gd name="T39" fmla="*/ 599838 h 675640"/>
              <a:gd name="T40" fmla="*/ 721107 w 1791335"/>
              <a:gd name="T41" fmla="*/ 631558 h 675640"/>
              <a:gd name="T42" fmla="*/ 660762 w 1791335"/>
              <a:gd name="T43" fmla="*/ 670657 h 675640"/>
              <a:gd name="T44" fmla="*/ 874910 w 1791335"/>
              <a:gd name="T45" fmla="*/ 566266 h 675640"/>
              <a:gd name="T46" fmla="*/ 702298 w 1791335"/>
              <a:gd name="T47" fmla="*/ 559691 h 675640"/>
              <a:gd name="T48" fmla="*/ 738869 w 1791335"/>
              <a:gd name="T49" fmla="*/ 502057 h 675640"/>
              <a:gd name="T50" fmla="*/ 742890 w 1791335"/>
              <a:gd name="T51" fmla="*/ 203676 h 675640"/>
              <a:gd name="T52" fmla="*/ 874910 w 1791335"/>
              <a:gd name="T53" fmla="*/ 566266 h 675640"/>
              <a:gd name="T54" fmla="*/ 742890 w 1791335"/>
              <a:gd name="T55" fmla="*/ 664746 h 675640"/>
              <a:gd name="T56" fmla="*/ 874910 w 1791335"/>
              <a:gd name="T57" fmla="*/ 599838 h 675640"/>
              <a:gd name="T58" fmla="*/ 1143424 w 1791335"/>
              <a:gd name="T59" fmla="*/ 664746 h 675640"/>
              <a:gd name="T60" fmla="*/ 1046777 w 1791335"/>
              <a:gd name="T61" fmla="*/ 661559 h 675640"/>
              <a:gd name="T62" fmla="*/ 977965 w 1791335"/>
              <a:gd name="T63" fmla="*/ 627038 h 675640"/>
              <a:gd name="T64" fmla="*/ 957701 w 1791335"/>
              <a:gd name="T65" fmla="*/ 534930 h 675640"/>
              <a:gd name="T66" fmla="*/ 1094196 w 1791335"/>
              <a:gd name="T67" fmla="*/ 0 h 675640"/>
              <a:gd name="T68" fmla="*/ 1091959 w 1791335"/>
              <a:gd name="T69" fmla="*/ 501358 h 675640"/>
              <a:gd name="T70" fmla="*/ 1103427 w 1791335"/>
              <a:gd name="T71" fmla="*/ 542205 h 675640"/>
              <a:gd name="T72" fmla="*/ 1143424 w 1791335"/>
              <a:gd name="T73" fmla="*/ 552836 h 675640"/>
              <a:gd name="T74" fmla="*/ 1734156 w 1791335"/>
              <a:gd name="T75" fmla="*/ 212629 h 675640"/>
              <a:gd name="T76" fmla="*/ 1698354 w 1791335"/>
              <a:gd name="T77" fmla="*/ 203676 h 675640"/>
              <a:gd name="T78" fmla="*/ 1734156 w 1791335"/>
              <a:gd name="T79" fmla="*/ 212629 h 675640"/>
              <a:gd name="T80" fmla="*/ 1711779 w 1791335"/>
              <a:gd name="T81" fmla="*/ 246202 h 675640"/>
              <a:gd name="T82" fmla="*/ 1720730 w 1791335"/>
              <a:gd name="T83" fmla="*/ 212629 h 675640"/>
              <a:gd name="T84" fmla="*/ 1752057 w 1791335"/>
              <a:gd name="T85" fmla="*/ 246202 h 675640"/>
              <a:gd name="T86" fmla="*/ 1740869 w 1791335"/>
              <a:gd name="T87" fmla="*/ 203676 h 675640"/>
              <a:gd name="T88" fmla="*/ 1760663 w 1791335"/>
              <a:gd name="T89" fmla="*/ 217106 h 675640"/>
              <a:gd name="T90" fmla="*/ 1752057 w 1791335"/>
              <a:gd name="T91" fmla="*/ 246202 h 675640"/>
              <a:gd name="T92" fmla="*/ 1765482 w 1791335"/>
              <a:gd name="T93" fmla="*/ 232773 h 675640"/>
              <a:gd name="T94" fmla="*/ 1790096 w 1791335"/>
              <a:gd name="T95" fmla="*/ 203676 h 675640"/>
              <a:gd name="T96" fmla="*/ 1778908 w 1791335"/>
              <a:gd name="T97" fmla="*/ 217106 h 675640"/>
              <a:gd name="T98" fmla="*/ 1769957 w 1791335"/>
              <a:gd name="T99" fmla="*/ 246202 h 675640"/>
              <a:gd name="T100" fmla="*/ 1752057 w 1791335"/>
              <a:gd name="T101" fmla="*/ 217106 h 675640"/>
              <a:gd name="T102" fmla="*/ 1765482 w 1791335"/>
              <a:gd name="T103" fmla="*/ 232773 h 675640"/>
              <a:gd name="T104" fmla="*/ 1769957 w 1791335"/>
              <a:gd name="T105" fmla="*/ 246202 h 675640"/>
              <a:gd name="T106" fmla="*/ 1778908 w 1791335"/>
              <a:gd name="T107" fmla="*/ 246202 h 675640"/>
              <a:gd name="T108" fmla="*/ 1790096 w 1791335"/>
              <a:gd name="T109" fmla="*/ 217106 h 6756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91335" h="675640">
                <a:moveTo>
                  <a:pt x="136543" y="664122"/>
                </a:moveTo>
                <a:lnTo>
                  <a:pt x="0" y="664122"/>
                </a:lnTo>
                <a:lnTo>
                  <a:pt x="0" y="0"/>
                </a:lnTo>
                <a:lnTo>
                  <a:pt x="136543" y="0"/>
                </a:lnTo>
                <a:lnTo>
                  <a:pt x="136543" y="664122"/>
                </a:lnTo>
                <a:close/>
              </a:path>
              <a:path w="1791335" h="675640">
                <a:moveTo>
                  <a:pt x="293232" y="664122"/>
                </a:moveTo>
                <a:lnTo>
                  <a:pt x="136543" y="664122"/>
                </a:lnTo>
                <a:lnTo>
                  <a:pt x="268609" y="433804"/>
                </a:lnTo>
                <a:lnTo>
                  <a:pt x="136543" y="203485"/>
                </a:lnTo>
                <a:lnTo>
                  <a:pt x="293232" y="203485"/>
                </a:lnTo>
                <a:lnTo>
                  <a:pt x="427537" y="433804"/>
                </a:lnTo>
                <a:lnTo>
                  <a:pt x="293232" y="664122"/>
                </a:lnTo>
                <a:close/>
              </a:path>
              <a:path w="1791335" h="675640">
                <a:moveTo>
                  <a:pt x="1340810" y="664122"/>
                </a:moveTo>
                <a:lnTo>
                  <a:pt x="1204266" y="664122"/>
                </a:lnTo>
                <a:lnTo>
                  <a:pt x="1204266" y="0"/>
                </a:lnTo>
                <a:lnTo>
                  <a:pt x="1340810" y="0"/>
                </a:lnTo>
                <a:lnTo>
                  <a:pt x="1340810" y="664122"/>
                </a:lnTo>
                <a:close/>
              </a:path>
              <a:path w="1791335" h="675640">
                <a:moveTo>
                  <a:pt x="1631804" y="664122"/>
                </a:moveTo>
                <a:lnTo>
                  <a:pt x="1472876" y="664122"/>
                </a:lnTo>
                <a:lnTo>
                  <a:pt x="1340810" y="433804"/>
                </a:lnTo>
                <a:lnTo>
                  <a:pt x="1472876" y="203485"/>
                </a:lnTo>
                <a:lnTo>
                  <a:pt x="1631804" y="203485"/>
                </a:lnTo>
                <a:lnTo>
                  <a:pt x="1497499" y="433804"/>
                </a:lnTo>
                <a:lnTo>
                  <a:pt x="1631804" y="664122"/>
                </a:lnTo>
                <a:close/>
              </a:path>
              <a:path w="1791335" h="675640">
                <a:moveTo>
                  <a:pt x="617802" y="675303"/>
                </a:moveTo>
                <a:lnTo>
                  <a:pt x="567220" y="669588"/>
                </a:lnTo>
                <a:lnTo>
                  <a:pt x="528763" y="652693"/>
                </a:lnTo>
                <a:lnTo>
                  <a:pt x="501125" y="624991"/>
                </a:lnTo>
                <a:lnTo>
                  <a:pt x="483000" y="586853"/>
                </a:lnTo>
                <a:lnTo>
                  <a:pt x="473082" y="538652"/>
                </a:lnTo>
                <a:lnTo>
                  <a:pt x="470067" y="480762"/>
                </a:lnTo>
                <a:lnTo>
                  <a:pt x="470067" y="203485"/>
                </a:lnTo>
                <a:lnTo>
                  <a:pt x="602133" y="203485"/>
                </a:lnTo>
                <a:lnTo>
                  <a:pt x="602181" y="447220"/>
                </a:lnTo>
                <a:lnTo>
                  <a:pt x="603147" y="492152"/>
                </a:lnTo>
                <a:lnTo>
                  <a:pt x="610247" y="530515"/>
                </a:lnTo>
                <a:lnTo>
                  <a:pt x="629519" y="556300"/>
                </a:lnTo>
                <a:lnTo>
                  <a:pt x="667047" y="565734"/>
                </a:lnTo>
                <a:lnTo>
                  <a:pt x="875220" y="565734"/>
                </a:lnTo>
                <a:lnTo>
                  <a:pt x="875220" y="599275"/>
                </a:lnTo>
                <a:lnTo>
                  <a:pt x="743153" y="599275"/>
                </a:lnTo>
                <a:lnTo>
                  <a:pt x="721363" y="630965"/>
                </a:lnTo>
                <a:lnTo>
                  <a:pt x="694747" y="654899"/>
                </a:lnTo>
                <a:lnTo>
                  <a:pt x="660996" y="670027"/>
                </a:lnTo>
                <a:lnTo>
                  <a:pt x="617802" y="675303"/>
                </a:lnTo>
                <a:close/>
              </a:path>
              <a:path w="1791335" h="675640">
                <a:moveTo>
                  <a:pt x="875220" y="565734"/>
                </a:moveTo>
                <a:lnTo>
                  <a:pt x="667047" y="565734"/>
                </a:lnTo>
                <a:lnTo>
                  <a:pt x="702547" y="559165"/>
                </a:lnTo>
                <a:lnTo>
                  <a:pt x="726085" y="538342"/>
                </a:lnTo>
                <a:lnTo>
                  <a:pt x="739131" y="501586"/>
                </a:lnTo>
                <a:lnTo>
                  <a:pt x="743153" y="447220"/>
                </a:lnTo>
                <a:lnTo>
                  <a:pt x="743153" y="203485"/>
                </a:lnTo>
                <a:lnTo>
                  <a:pt x="875220" y="203485"/>
                </a:lnTo>
                <a:lnTo>
                  <a:pt x="875220" y="565734"/>
                </a:lnTo>
                <a:close/>
              </a:path>
              <a:path w="1791335" h="675640">
                <a:moveTo>
                  <a:pt x="875220" y="664122"/>
                </a:moveTo>
                <a:lnTo>
                  <a:pt x="743153" y="664122"/>
                </a:lnTo>
                <a:lnTo>
                  <a:pt x="743153" y="599275"/>
                </a:lnTo>
                <a:lnTo>
                  <a:pt x="875220" y="599275"/>
                </a:lnTo>
                <a:lnTo>
                  <a:pt x="875220" y="664122"/>
                </a:lnTo>
                <a:close/>
              </a:path>
              <a:path w="1791335" h="675640">
                <a:moveTo>
                  <a:pt x="1143829" y="664122"/>
                </a:moveTo>
                <a:lnTo>
                  <a:pt x="1103538" y="664122"/>
                </a:lnTo>
                <a:lnTo>
                  <a:pt x="1047148" y="660938"/>
                </a:lnTo>
                <a:lnTo>
                  <a:pt x="1005907" y="649382"/>
                </a:lnTo>
                <a:lnTo>
                  <a:pt x="978312" y="626449"/>
                </a:lnTo>
                <a:lnTo>
                  <a:pt x="962858" y="589132"/>
                </a:lnTo>
                <a:lnTo>
                  <a:pt x="958041" y="534428"/>
                </a:lnTo>
                <a:lnTo>
                  <a:pt x="958041" y="0"/>
                </a:lnTo>
                <a:lnTo>
                  <a:pt x="1094584" y="0"/>
                </a:lnTo>
                <a:lnTo>
                  <a:pt x="1094584" y="500887"/>
                </a:lnTo>
                <a:lnTo>
                  <a:pt x="1092346" y="500887"/>
                </a:lnTo>
                <a:lnTo>
                  <a:pt x="1095039" y="525903"/>
                </a:lnTo>
                <a:lnTo>
                  <a:pt x="1103818" y="541696"/>
                </a:lnTo>
                <a:lnTo>
                  <a:pt x="1119731" y="549941"/>
                </a:lnTo>
                <a:lnTo>
                  <a:pt x="1143829" y="552317"/>
                </a:lnTo>
                <a:lnTo>
                  <a:pt x="1143829" y="664122"/>
                </a:lnTo>
                <a:close/>
              </a:path>
              <a:path w="1791335" h="675640">
                <a:moveTo>
                  <a:pt x="1734771" y="212429"/>
                </a:moveTo>
                <a:lnTo>
                  <a:pt x="1698956" y="212429"/>
                </a:lnTo>
                <a:lnTo>
                  <a:pt x="1698956" y="203485"/>
                </a:lnTo>
                <a:lnTo>
                  <a:pt x="1734771" y="203485"/>
                </a:lnTo>
                <a:lnTo>
                  <a:pt x="1734771" y="212429"/>
                </a:lnTo>
                <a:close/>
              </a:path>
              <a:path w="1791335" h="675640">
                <a:moveTo>
                  <a:pt x="1721340" y="245971"/>
                </a:moveTo>
                <a:lnTo>
                  <a:pt x="1712386" y="245971"/>
                </a:lnTo>
                <a:lnTo>
                  <a:pt x="1712386" y="212429"/>
                </a:lnTo>
                <a:lnTo>
                  <a:pt x="1721340" y="212429"/>
                </a:lnTo>
                <a:lnTo>
                  <a:pt x="1721340" y="245971"/>
                </a:lnTo>
                <a:close/>
              </a:path>
              <a:path w="1791335" h="675640">
                <a:moveTo>
                  <a:pt x="1752678" y="245971"/>
                </a:moveTo>
                <a:lnTo>
                  <a:pt x="1741486" y="245971"/>
                </a:lnTo>
                <a:lnTo>
                  <a:pt x="1741486" y="203485"/>
                </a:lnTo>
                <a:lnTo>
                  <a:pt x="1757155" y="203485"/>
                </a:lnTo>
                <a:lnTo>
                  <a:pt x="1761287" y="216902"/>
                </a:lnTo>
                <a:lnTo>
                  <a:pt x="1752678" y="216902"/>
                </a:lnTo>
                <a:lnTo>
                  <a:pt x="1752678" y="245971"/>
                </a:lnTo>
                <a:close/>
              </a:path>
              <a:path w="1791335" h="675640">
                <a:moveTo>
                  <a:pt x="1774718" y="232554"/>
                </a:moveTo>
                <a:lnTo>
                  <a:pt x="1766108" y="232554"/>
                </a:lnTo>
                <a:lnTo>
                  <a:pt x="1775062" y="203485"/>
                </a:lnTo>
                <a:lnTo>
                  <a:pt x="1790731" y="203485"/>
                </a:lnTo>
                <a:lnTo>
                  <a:pt x="1790731" y="216902"/>
                </a:lnTo>
                <a:lnTo>
                  <a:pt x="1779539" y="216902"/>
                </a:lnTo>
                <a:lnTo>
                  <a:pt x="1774718" y="232554"/>
                </a:lnTo>
                <a:close/>
              </a:path>
              <a:path w="1791335" h="675640">
                <a:moveTo>
                  <a:pt x="1770585" y="245971"/>
                </a:moveTo>
                <a:lnTo>
                  <a:pt x="1761632" y="245971"/>
                </a:lnTo>
                <a:lnTo>
                  <a:pt x="1752678" y="216902"/>
                </a:lnTo>
                <a:lnTo>
                  <a:pt x="1761287" y="216902"/>
                </a:lnTo>
                <a:lnTo>
                  <a:pt x="1766108" y="232554"/>
                </a:lnTo>
                <a:lnTo>
                  <a:pt x="1774718" y="232554"/>
                </a:lnTo>
                <a:lnTo>
                  <a:pt x="1770585" y="245971"/>
                </a:lnTo>
                <a:close/>
              </a:path>
              <a:path w="1791335" h="675640">
                <a:moveTo>
                  <a:pt x="1790731" y="245971"/>
                </a:moveTo>
                <a:lnTo>
                  <a:pt x="1779539" y="245971"/>
                </a:lnTo>
                <a:lnTo>
                  <a:pt x="1779539" y="216902"/>
                </a:lnTo>
                <a:lnTo>
                  <a:pt x="1790731" y="216902"/>
                </a:lnTo>
                <a:lnTo>
                  <a:pt x="1790731" y="2459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 name="Title 1"/>
          <p:cNvSpPr>
            <a:spLocks noGrp="1"/>
          </p:cNvSpPr>
          <p:nvPr>
            <p:ph type="ctrTitle"/>
          </p:nvPr>
        </p:nvSpPr>
        <p:spPr>
          <a:xfrm>
            <a:off x="596348" y="2731405"/>
            <a:ext cx="9144000" cy="590931"/>
          </a:xfrm>
        </p:spPr>
        <p:txBody>
          <a:bodyPr anchor="b"/>
          <a:lstStyle>
            <a:lvl1pPr algn="l">
              <a:defRPr sz="36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96348" y="3414411"/>
            <a:ext cx="9144000" cy="369332"/>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27793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632A6FEC-4182-ACA0-F7F6-8F779B99DE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632A6FEC-4182-ACA0-F7F6-8F779B99DE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2">
            <a:extLst>
              <a:ext uri="{FF2B5EF4-FFF2-40B4-BE49-F238E27FC236}">
                <a16:creationId xmlns:a16="http://schemas.microsoft.com/office/drawing/2014/main" id="{6FE41067-2A47-2418-F9FA-BD87443F2637}"/>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4">
            <a:extLst>
              <a:ext uri="{FF2B5EF4-FFF2-40B4-BE49-F238E27FC236}">
                <a16:creationId xmlns:a16="http://schemas.microsoft.com/office/drawing/2014/main" id="{072410B2-84FA-DD4F-1E4A-A1155D23AFA6}"/>
              </a:ext>
            </a:extLst>
          </p:cNvPr>
          <p:cNvSpPr>
            <a:spLocks/>
          </p:cNvSpPr>
          <p:nvPr userDrawn="1"/>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6">
            <a:extLst>
              <a:ext uri="{FF2B5EF4-FFF2-40B4-BE49-F238E27FC236}">
                <a16:creationId xmlns:a16="http://schemas.microsoft.com/office/drawing/2014/main" id="{F6282E0F-359A-9B17-0752-7706320D85A4}"/>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9" name="object 2">
            <a:extLst>
              <a:ext uri="{FF2B5EF4-FFF2-40B4-BE49-F238E27FC236}">
                <a16:creationId xmlns:a16="http://schemas.microsoft.com/office/drawing/2014/main" id="{886C9271-50AE-426C-FC97-DF444BF7FC87}"/>
              </a:ext>
            </a:extLst>
          </p:cNvPr>
          <p:cNvGrpSpPr>
            <a:grpSpLocks/>
          </p:cNvGrpSpPr>
          <p:nvPr/>
        </p:nvGrpSpPr>
        <p:grpSpPr bwMode="auto">
          <a:xfrm>
            <a:off x="11002963" y="-4763"/>
            <a:ext cx="1163637" cy="1343026"/>
            <a:chOff x="11002424" y="0"/>
            <a:chExt cx="1163955" cy="1342390"/>
          </a:xfrm>
        </p:grpSpPr>
        <p:sp>
          <p:nvSpPr>
            <p:cNvPr id="10" name="object 3">
              <a:extLst>
                <a:ext uri="{FF2B5EF4-FFF2-40B4-BE49-F238E27FC236}">
                  <a16:creationId xmlns:a16="http://schemas.microsoft.com/office/drawing/2014/main" id="{68527441-CDCB-1179-7D4D-23AF46F48D46}"/>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1" name="object 4">
              <a:extLst>
                <a:ext uri="{FF2B5EF4-FFF2-40B4-BE49-F238E27FC236}">
                  <a16:creationId xmlns:a16="http://schemas.microsoft.com/office/drawing/2014/main" id="{C10F9798-C6BA-7B2D-3C44-4E7636A38F45}"/>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2" name="Object 16" hidden="1">
            <a:extLst>
              <a:ext uri="{FF2B5EF4-FFF2-40B4-BE49-F238E27FC236}">
                <a16:creationId xmlns:a16="http://schemas.microsoft.com/office/drawing/2014/main" id="{6DF02752-EBC5-A17B-5CCF-451D5F6C492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2" name="Object 16" hidden="1">
                        <a:extLst>
                          <a:ext uri="{FF2B5EF4-FFF2-40B4-BE49-F238E27FC236}">
                            <a16:creationId xmlns:a16="http://schemas.microsoft.com/office/drawing/2014/main" id="{6DF02752-EBC5-A17B-5CCF-451D5F6C49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lassholder for dato 13">
            <a:extLst>
              <a:ext uri="{FF2B5EF4-FFF2-40B4-BE49-F238E27FC236}">
                <a16:creationId xmlns:a16="http://schemas.microsoft.com/office/drawing/2014/main" id="{0489FC01-C7A6-2106-7F53-DCC7E3F6F36A}"/>
              </a:ext>
            </a:extLst>
          </p:cNvPr>
          <p:cNvSpPr>
            <a:spLocks noGrp="1"/>
          </p:cNvSpPr>
          <p:nvPr>
            <p:ph type="dt" sz="half" idx="10"/>
          </p:nvPr>
        </p:nvSpPr>
        <p:spPr/>
        <p:txBody>
          <a:bodyPr/>
          <a:lstStyle/>
          <a:p>
            <a:pPr>
              <a:defRPr/>
            </a:pPr>
            <a:fld id="{20BBB2E2-CC26-4239-A610-53654AB87668}" type="datetime1">
              <a:rPr lang="en-US" smtClean="0"/>
              <a:pPr>
                <a:defRPr/>
              </a:pPr>
              <a:t>1/18/26</a:t>
            </a:fld>
            <a:endParaRPr lang="en-US"/>
          </a:p>
        </p:txBody>
      </p:sp>
      <p:sp>
        <p:nvSpPr>
          <p:cNvPr id="17" name="Plassholder for lysbildenummer 16">
            <a:extLst>
              <a:ext uri="{FF2B5EF4-FFF2-40B4-BE49-F238E27FC236}">
                <a16:creationId xmlns:a16="http://schemas.microsoft.com/office/drawing/2014/main" id="{F4CF7036-67BB-F235-182F-5CD655FA9522}"/>
              </a:ext>
            </a:extLst>
          </p:cNvPr>
          <p:cNvSpPr>
            <a:spLocks noGrp="1"/>
          </p:cNvSpPr>
          <p:nvPr>
            <p:ph type="sldNum" sz="quarter" idx="12"/>
          </p:nvPr>
        </p:nvSpPr>
        <p:spPr/>
        <p:txBody>
          <a:bodyPr/>
          <a:lstStyle/>
          <a:p>
            <a:pPr>
              <a:defRPr/>
            </a:pPr>
            <a:fld id="{DEBAC383-E36A-489F-ADF8-C4D7B9AD7F0A}" type="slidenum">
              <a:rPr lang="en-US" smtClean="0"/>
              <a:pPr>
                <a:defRPr/>
              </a:pPr>
              <a:t>‹#›</a:t>
            </a:fld>
            <a:endParaRPr lang="en-US"/>
          </a:p>
        </p:txBody>
      </p:sp>
    </p:spTree>
    <p:extLst>
      <p:ext uri="{BB962C8B-B14F-4D97-AF65-F5344CB8AC3E}">
        <p14:creationId xmlns:p14="http://schemas.microsoft.com/office/powerpoint/2010/main" val="32636632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8503DAAD-1810-F525-43E3-3BCABBE962C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7" hidden="1">
                        <a:extLst>
                          <a:ext uri="{FF2B5EF4-FFF2-40B4-BE49-F238E27FC236}">
                            <a16:creationId xmlns:a16="http://schemas.microsoft.com/office/drawing/2014/main" id="{8503DAAD-1810-F525-43E3-3BCABBE962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E1CD8743-005A-DBF7-FA67-2504BA65385E}"/>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8C52B86B-D93C-C5CE-470B-EE43F617B950}"/>
              </a:ext>
            </a:extLst>
          </p:cNvPr>
          <p:cNvSpPr>
            <a:spLocks/>
          </p:cNvSpPr>
          <p:nvPr userDrawn="1"/>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66A9C81B-5BAD-DA67-2ADA-1DE6A8C71CEA}"/>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BDBF9E0D-D657-0E6A-BAD3-70AF2FCE3A3F}"/>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9883F786-440A-0296-7C23-1E3522DBED03}"/>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BA5C4D78-186A-9A37-3A93-F930E7561D8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AAF7D0DF-B583-3E75-72D9-7B655EC34A7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AAF7D0DF-B583-3E75-72D9-7B655EC34A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object 2">
            <a:extLst>
              <a:ext uri="{FF2B5EF4-FFF2-40B4-BE49-F238E27FC236}">
                <a16:creationId xmlns:a16="http://schemas.microsoft.com/office/drawing/2014/main" id="{6E9D6CCC-2343-5A8F-4F7C-97B789E70AFD}"/>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TextBox 18">
            <a:extLst>
              <a:ext uri="{FF2B5EF4-FFF2-40B4-BE49-F238E27FC236}">
                <a16:creationId xmlns:a16="http://schemas.microsoft.com/office/drawing/2014/main" id="{984BCCA6-1322-41CB-B34B-0BAF4C2378D7}"/>
              </a:ext>
            </a:extLst>
          </p:cNvPr>
          <p:cNvSpPr txBox="1">
            <a:spLocks noChangeArrowheads="1"/>
          </p:cNvSpPr>
          <p:nvPr/>
        </p:nvSpPr>
        <p:spPr bwMode="auto">
          <a:xfrm>
            <a:off x="5897563" y="1720850"/>
            <a:ext cx="5599112" cy="400050"/>
          </a:xfrm>
          <a:prstGeom prst="rect">
            <a:avLst/>
          </a:prstGeom>
          <a:noFill/>
          <a:ln>
            <a:noFill/>
          </a:ln>
        </p:spPr>
        <p:txBody>
          <a:bodyPr>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2000" b="1">
                <a:solidFill>
                  <a:schemeClr val="bg1"/>
                </a:solidFill>
              </a:rPr>
              <a:t>1.	Section title</a:t>
            </a:r>
          </a:p>
        </p:txBody>
      </p:sp>
      <p:grpSp>
        <p:nvGrpSpPr>
          <p:cNvPr id="14" name="object 2">
            <a:extLst>
              <a:ext uri="{FF2B5EF4-FFF2-40B4-BE49-F238E27FC236}">
                <a16:creationId xmlns:a16="http://schemas.microsoft.com/office/drawing/2014/main" id="{4E13934B-BF35-9E82-06F4-B8B42F09621C}"/>
              </a:ext>
            </a:extLst>
          </p:cNvPr>
          <p:cNvGrpSpPr>
            <a:grpSpLocks/>
          </p:cNvGrpSpPr>
          <p:nvPr/>
        </p:nvGrpSpPr>
        <p:grpSpPr bwMode="auto">
          <a:xfrm>
            <a:off x="11002963" y="0"/>
            <a:ext cx="1163637" cy="1343025"/>
            <a:chOff x="11002424" y="0"/>
            <a:chExt cx="1163955" cy="1342390"/>
          </a:xfrm>
        </p:grpSpPr>
        <p:sp>
          <p:nvSpPr>
            <p:cNvPr id="15" name="object 3">
              <a:extLst>
                <a:ext uri="{FF2B5EF4-FFF2-40B4-BE49-F238E27FC236}">
                  <a16:creationId xmlns:a16="http://schemas.microsoft.com/office/drawing/2014/main" id="{8089FC2C-64CB-605E-9B86-9506ACDE74BB}"/>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4">
              <a:extLst>
                <a:ext uri="{FF2B5EF4-FFF2-40B4-BE49-F238E27FC236}">
                  <a16:creationId xmlns:a16="http://schemas.microsoft.com/office/drawing/2014/main" id="{1BD9F0E5-777A-15CA-5C35-25BF50B01F4D}"/>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7" name="Date Placeholder 3">
            <a:extLst>
              <a:ext uri="{FF2B5EF4-FFF2-40B4-BE49-F238E27FC236}">
                <a16:creationId xmlns:a16="http://schemas.microsoft.com/office/drawing/2014/main" id="{4868D9AA-186A-4E82-B27D-C520D7D95BF7}"/>
              </a:ext>
            </a:extLst>
          </p:cNvPr>
          <p:cNvSpPr>
            <a:spLocks noGrp="1"/>
          </p:cNvSpPr>
          <p:nvPr>
            <p:ph type="dt" sz="half" idx="10"/>
          </p:nvPr>
        </p:nvSpPr>
        <p:spPr/>
        <p:txBody>
          <a:bodyPr/>
          <a:lstStyle>
            <a:lvl1pPr>
              <a:defRPr/>
            </a:lvl1pPr>
          </a:lstStyle>
          <a:p>
            <a:pPr>
              <a:defRPr/>
            </a:pPr>
            <a:fld id="{634C6B6B-AF29-4C33-A2E0-7C31A35BF89E}" type="datetime1">
              <a:rPr lang="en-US"/>
              <a:pPr>
                <a:defRPr/>
              </a:pPr>
              <a:t>1/18/26</a:t>
            </a:fld>
            <a:endParaRPr lang="en-US"/>
          </a:p>
        </p:txBody>
      </p:sp>
      <p:sp>
        <p:nvSpPr>
          <p:cNvPr id="19" name="Slide Number Placeholder 5">
            <a:extLst>
              <a:ext uri="{FF2B5EF4-FFF2-40B4-BE49-F238E27FC236}">
                <a16:creationId xmlns:a16="http://schemas.microsoft.com/office/drawing/2014/main" id="{60D65CEB-C35A-1298-507F-81E647E3A604}"/>
              </a:ext>
            </a:extLst>
          </p:cNvPr>
          <p:cNvSpPr>
            <a:spLocks noGrp="1"/>
          </p:cNvSpPr>
          <p:nvPr>
            <p:ph type="sldNum" sz="quarter" idx="12"/>
          </p:nvPr>
        </p:nvSpPr>
        <p:spPr/>
        <p:txBody>
          <a:bodyPr/>
          <a:lstStyle>
            <a:lvl1pPr>
              <a:defRPr/>
            </a:lvl1pPr>
          </a:lstStyle>
          <a:p>
            <a:pPr>
              <a:defRPr/>
            </a:pPr>
            <a:fld id="{F50AAB3D-C6E7-44ED-85A8-44FA4D92E1F7}" type="slidenum">
              <a:rPr lang="en-US"/>
              <a:pPr>
                <a:defRPr/>
              </a:pPr>
              <a:t>‹#›</a:t>
            </a:fld>
            <a:endParaRPr lang="en-US"/>
          </a:p>
        </p:txBody>
      </p:sp>
      <p:sp>
        <p:nvSpPr>
          <p:cNvPr id="7" name="Plassholder for bunntekst 1">
            <a:extLst>
              <a:ext uri="{FF2B5EF4-FFF2-40B4-BE49-F238E27FC236}">
                <a16:creationId xmlns:a16="http://schemas.microsoft.com/office/drawing/2014/main" id="{C770D567-4655-250E-F0BF-E354B468690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endParaRPr lang="en-GB"/>
          </a:p>
        </p:txBody>
      </p:sp>
    </p:spTree>
    <p:extLst>
      <p:ext uri="{BB962C8B-B14F-4D97-AF65-F5344CB8AC3E}">
        <p14:creationId xmlns:p14="http://schemas.microsoft.com/office/powerpoint/2010/main" val="40449482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45968752-FB5F-5916-021A-8BCA580889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45968752-FB5F-5916-021A-8BCA580889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7C217ABA-7C5E-FDF9-E71C-5E1F14E80898}"/>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E16D5ED9-2CB6-5088-868C-1B4962CF43BE}"/>
              </a:ext>
            </a:extLst>
          </p:cNvPr>
          <p:cNvSpPr>
            <a:spLocks/>
          </p:cNvSpPr>
          <p:nvPr userDrawn="1"/>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67E88AB0-99F9-9CCF-8FAD-36CC031790A3}"/>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0DAD6F6A-E48C-1EFC-2F73-8E887BFB38A7}"/>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9787E307-9DDD-574B-6564-BC1C0BA1F0C3}"/>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026BC80A-5288-450F-F81B-089898567A6C}"/>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90F266B4-F726-3813-B74F-F8D1FD242F9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90F266B4-F726-3813-B74F-F8D1FD242F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object 2">
            <a:extLst>
              <a:ext uri="{FF2B5EF4-FFF2-40B4-BE49-F238E27FC236}">
                <a16:creationId xmlns:a16="http://schemas.microsoft.com/office/drawing/2014/main" id="{3D0D44BD-EFF5-AE96-8288-6A010B99AC46}"/>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3" name="object 2">
            <a:extLst>
              <a:ext uri="{FF2B5EF4-FFF2-40B4-BE49-F238E27FC236}">
                <a16:creationId xmlns:a16="http://schemas.microsoft.com/office/drawing/2014/main" id="{50D99292-A2C2-3482-874E-2193BFF80A75}"/>
              </a:ext>
            </a:extLst>
          </p:cNvPr>
          <p:cNvGrpSpPr>
            <a:grpSpLocks/>
          </p:cNvGrpSpPr>
          <p:nvPr/>
        </p:nvGrpSpPr>
        <p:grpSpPr bwMode="auto">
          <a:xfrm>
            <a:off x="11002963" y="0"/>
            <a:ext cx="1163637" cy="1343025"/>
            <a:chOff x="11002424" y="0"/>
            <a:chExt cx="1163955" cy="1342390"/>
          </a:xfrm>
        </p:grpSpPr>
        <p:sp>
          <p:nvSpPr>
            <p:cNvPr id="14" name="object 3">
              <a:extLst>
                <a:ext uri="{FF2B5EF4-FFF2-40B4-BE49-F238E27FC236}">
                  <a16:creationId xmlns:a16="http://schemas.microsoft.com/office/drawing/2014/main" id="{D8501C4F-7362-2726-B7D8-10FD4F0318E1}"/>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4">
              <a:extLst>
                <a:ext uri="{FF2B5EF4-FFF2-40B4-BE49-F238E27FC236}">
                  <a16:creationId xmlns:a16="http://schemas.microsoft.com/office/drawing/2014/main" id="{66A242AF-7236-E860-B8FB-E5205D0032AB}"/>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Title 1"/>
          <p:cNvSpPr>
            <a:spLocks noGrp="1"/>
          </p:cNvSpPr>
          <p:nvPr>
            <p:ph type="title"/>
          </p:nvPr>
        </p:nvSpPr>
        <p:spPr>
          <a:xfrm>
            <a:off x="593310" y="4035779"/>
            <a:ext cx="10515600" cy="535531"/>
          </a:xfrm>
        </p:spPr>
        <p:txBody>
          <a:bodyPr anchor="b"/>
          <a:lstStyle>
            <a:lvl1pPr>
              <a:defRPr sz="3200">
                <a:solidFill>
                  <a:schemeClr val="bg1"/>
                </a:solidFill>
              </a:defRPr>
            </a:lvl1pPr>
          </a:lstStyle>
          <a:p>
            <a:r>
              <a:rPr lang="en-US"/>
              <a:t>Click to edit Master title style</a:t>
            </a:r>
          </a:p>
        </p:txBody>
      </p:sp>
      <p:sp>
        <p:nvSpPr>
          <p:cNvPr id="16" name="Date Placeholder 3">
            <a:extLst>
              <a:ext uri="{FF2B5EF4-FFF2-40B4-BE49-F238E27FC236}">
                <a16:creationId xmlns:a16="http://schemas.microsoft.com/office/drawing/2014/main" id="{F746B0FC-A355-F51B-F544-362ED96287F0}"/>
              </a:ext>
            </a:extLst>
          </p:cNvPr>
          <p:cNvSpPr>
            <a:spLocks noGrp="1"/>
          </p:cNvSpPr>
          <p:nvPr>
            <p:ph type="dt" sz="half" idx="10"/>
          </p:nvPr>
        </p:nvSpPr>
        <p:spPr/>
        <p:txBody>
          <a:bodyPr/>
          <a:lstStyle>
            <a:lvl1pPr>
              <a:defRPr/>
            </a:lvl1pPr>
          </a:lstStyle>
          <a:p>
            <a:pPr>
              <a:defRPr/>
            </a:pPr>
            <a:fld id="{7440CBB8-C35D-4EFC-81B1-C0FDB9F080F3}" type="datetime1">
              <a:rPr lang="en-US"/>
              <a:pPr>
                <a:defRPr/>
              </a:pPr>
              <a:t>1/18/26</a:t>
            </a:fld>
            <a:endParaRPr lang="en-US"/>
          </a:p>
        </p:txBody>
      </p:sp>
      <p:sp>
        <p:nvSpPr>
          <p:cNvPr id="18" name="Slide Number Placeholder 5">
            <a:extLst>
              <a:ext uri="{FF2B5EF4-FFF2-40B4-BE49-F238E27FC236}">
                <a16:creationId xmlns:a16="http://schemas.microsoft.com/office/drawing/2014/main" id="{4A21703C-81D3-C73D-C1C2-BC5484E0C467}"/>
              </a:ext>
            </a:extLst>
          </p:cNvPr>
          <p:cNvSpPr>
            <a:spLocks noGrp="1"/>
          </p:cNvSpPr>
          <p:nvPr>
            <p:ph type="sldNum" sz="quarter" idx="12"/>
          </p:nvPr>
        </p:nvSpPr>
        <p:spPr/>
        <p:txBody>
          <a:bodyPr/>
          <a:lstStyle>
            <a:lvl1pPr>
              <a:defRPr/>
            </a:lvl1pPr>
          </a:lstStyle>
          <a:p>
            <a:pPr>
              <a:defRPr/>
            </a:pPr>
            <a:fld id="{53A9C410-9DA4-4581-9E9E-FA4EC75511F7}" type="slidenum">
              <a:rPr lang="en-US"/>
              <a:pPr>
                <a:defRPr/>
              </a:pPr>
              <a:t>‹#›</a:t>
            </a:fld>
            <a:endParaRPr lang="en-US"/>
          </a:p>
        </p:txBody>
      </p:sp>
    </p:spTree>
    <p:extLst>
      <p:ext uri="{BB962C8B-B14F-4D97-AF65-F5344CB8AC3E}">
        <p14:creationId xmlns:p14="http://schemas.microsoft.com/office/powerpoint/2010/main" val="37893135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2 Col Text">
    <p:spTree>
      <p:nvGrpSpPr>
        <p:cNvPr id="1" name=""/>
        <p:cNvGrpSpPr/>
        <p:nvPr/>
      </p:nvGrpSpPr>
      <p:grpSpPr>
        <a:xfrm>
          <a:off x="0" y="0"/>
          <a:ext cx="0" cy="0"/>
          <a:chOff x="0" y="0"/>
          <a:chExt cx="0" cy="0"/>
        </a:xfrm>
      </p:grpSpPr>
      <p:graphicFrame>
        <p:nvGraphicFramePr>
          <p:cNvPr id="5" name="Object 7" hidden="1">
            <a:extLst>
              <a:ext uri="{FF2B5EF4-FFF2-40B4-BE49-F238E27FC236}">
                <a16:creationId xmlns:a16="http://schemas.microsoft.com/office/drawing/2014/main" id="{7F26F849-3714-56CC-6142-3E08BC290BF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a:extLst>
                          <a:ext uri="{FF2B5EF4-FFF2-40B4-BE49-F238E27FC236}">
                            <a16:creationId xmlns:a16="http://schemas.microsoft.com/office/drawing/2014/main" id="{7F26F849-3714-56CC-6142-3E08BC290B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object 2">
            <a:extLst>
              <a:ext uri="{FF2B5EF4-FFF2-40B4-BE49-F238E27FC236}">
                <a16:creationId xmlns:a16="http://schemas.microsoft.com/office/drawing/2014/main" id="{93797526-CB52-A699-E0E0-0EB642A612CE}"/>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object 4">
            <a:extLst>
              <a:ext uri="{FF2B5EF4-FFF2-40B4-BE49-F238E27FC236}">
                <a16:creationId xmlns:a16="http://schemas.microsoft.com/office/drawing/2014/main" id="{51634732-E8BA-2C8D-101C-1FE7CACFB1B4}"/>
              </a:ext>
            </a:extLst>
          </p:cNvPr>
          <p:cNvSpPr>
            <a:spLocks/>
          </p:cNvSpPr>
          <p:nvPr/>
        </p:nvSpPr>
        <p:spPr bwMode="auto">
          <a:xfrm>
            <a:off x="0" y="6259831"/>
            <a:ext cx="12192000" cy="669607"/>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6">
            <a:extLst>
              <a:ext uri="{FF2B5EF4-FFF2-40B4-BE49-F238E27FC236}">
                <a16:creationId xmlns:a16="http://schemas.microsoft.com/office/drawing/2014/main" id="{97AC0150-8772-A9EA-3348-76E0D5F60260}"/>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0" name="object 2">
            <a:extLst>
              <a:ext uri="{FF2B5EF4-FFF2-40B4-BE49-F238E27FC236}">
                <a16:creationId xmlns:a16="http://schemas.microsoft.com/office/drawing/2014/main" id="{BD5C9C50-5621-BF7B-D930-EF42B9DC55F7}"/>
              </a:ext>
            </a:extLst>
          </p:cNvPr>
          <p:cNvGrpSpPr>
            <a:grpSpLocks/>
          </p:cNvGrpSpPr>
          <p:nvPr/>
        </p:nvGrpSpPr>
        <p:grpSpPr bwMode="auto">
          <a:xfrm>
            <a:off x="11002963" y="-4763"/>
            <a:ext cx="1163637" cy="1343026"/>
            <a:chOff x="11002424" y="0"/>
            <a:chExt cx="1163955" cy="1342390"/>
          </a:xfrm>
        </p:grpSpPr>
        <p:sp>
          <p:nvSpPr>
            <p:cNvPr id="11" name="object 3">
              <a:extLst>
                <a:ext uri="{FF2B5EF4-FFF2-40B4-BE49-F238E27FC236}">
                  <a16:creationId xmlns:a16="http://schemas.microsoft.com/office/drawing/2014/main" id="{900066DC-FB5C-E284-6836-E958CF7D84D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2" name="object 4">
              <a:extLst>
                <a:ext uri="{FF2B5EF4-FFF2-40B4-BE49-F238E27FC236}">
                  <a16:creationId xmlns:a16="http://schemas.microsoft.com/office/drawing/2014/main" id="{B77C3DA2-FCE4-8F18-2541-1A574B5949C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3" name="Object 16" hidden="1">
            <a:extLst>
              <a:ext uri="{FF2B5EF4-FFF2-40B4-BE49-F238E27FC236}">
                <a16:creationId xmlns:a16="http://schemas.microsoft.com/office/drawing/2014/main" id="{78A7D184-BEE1-8194-4B6C-6D9408CC46A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3" name="Object 16" hidden="1">
                        <a:extLst>
                          <a:ext uri="{FF2B5EF4-FFF2-40B4-BE49-F238E27FC236}">
                            <a16:creationId xmlns:a16="http://schemas.microsoft.com/office/drawing/2014/main" id="{78A7D184-BEE1-8194-4B6C-6D9408CC46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4" name="Straight Connector 13">
            <a:extLst>
              <a:ext uri="{FF2B5EF4-FFF2-40B4-BE49-F238E27FC236}">
                <a16:creationId xmlns:a16="http://schemas.microsoft.com/office/drawing/2014/main" id="{C934625B-0448-ED59-C74D-670ADBFC04E2}"/>
              </a:ext>
            </a:extLst>
          </p:cNvPr>
          <p:cNvCxnSpPr>
            <a:cxnSpLocks/>
          </p:cNvCxnSpPr>
          <p:nvPr/>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966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5075"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Date Placeholder 4">
            <a:extLst>
              <a:ext uri="{FF2B5EF4-FFF2-40B4-BE49-F238E27FC236}">
                <a16:creationId xmlns:a16="http://schemas.microsoft.com/office/drawing/2014/main" id="{BCD9A58B-5D5D-2E6B-B172-7756037FA400}"/>
              </a:ext>
            </a:extLst>
          </p:cNvPr>
          <p:cNvSpPr>
            <a:spLocks noGrp="1"/>
          </p:cNvSpPr>
          <p:nvPr>
            <p:ph type="dt" sz="half" idx="10"/>
          </p:nvPr>
        </p:nvSpPr>
        <p:spPr/>
        <p:txBody>
          <a:bodyPr/>
          <a:lstStyle>
            <a:lvl1pPr>
              <a:defRPr/>
            </a:lvl1pPr>
          </a:lstStyle>
          <a:p>
            <a:pPr>
              <a:defRPr/>
            </a:pPr>
            <a:fld id="{282473E0-A4C4-4E3D-99D1-0D5B17590532}" type="datetime1">
              <a:rPr lang="en-US"/>
              <a:pPr>
                <a:defRPr/>
              </a:pPr>
              <a:t>1/18/26</a:t>
            </a:fld>
            <a:endParaRPr lang="en-US"/>
          </a:p>
        </p:txBody>
      </p:sp>
      <p:sp>
        <p:nvSpPr>
          <p:cNvPr id="17" name="Slide Number Placeholder 6">
            <a:extLst>
              <a:ext uri="{FF2B5EF4-FFF2-40B4-BE49-F238E27FC236}">
                <a16:creationId xmlns:a16="http://schemas.microsoft.com/office/drawing/2014/main" id="{71F8952D-E15C-7627-68B6-2EA1DAE36492}"/>
              </a:ext>
            </a:extLst>
          </p:cNvPr>
          <p:cNvSpPr>
            <a:spLocks noGrp="1"/>
          </p:cNvSpPr>
          <p:nvPr>
            <p:ph type="sldNum" sz="quarter" idx="12"/>
          </p:nvPr>
        </p:nvSpPr>
        <p:spPr/>
        <p:txBody>
          <a:bodyPr/>
          <a:lstStyle>
            <a:lvl1pPr>
              <a:defRPr/>
            </a:lvl1pPr>
          </a:lstStyle>
          <a:p>
            <a:pPr>
              <a:defRPr/>
            </a:pPr>
            <a:fld id="{FB155568-9D23-48D5-ADBD-2C51E64E96A1}" type="slidenum">
              <a:rPr lang="en-US"/>
              <a:pPr>
                <a:defRPr/>
              </a:pPr>
              <a:t>‹#›</a:t>
            </a:fld>
            <a:endParaRPr lang="en-US"/>
          </a:p>
        </p:txBody>
      </p:sp>
      <p:sp>
        <p:nvSpPr>
          <p:cNvPr id="9" name="Plassholder for bunntekst 1">
            <a:extLst>
              <a:ext uri="{FF2B5EF4-FFF2-40B4-BE49-F238E27FC236}">
                <a16:creationId xmlns:a16="http://schemas.microsoft.com/office/drawing/2014/main" id="{A83DADD3-E6A7-7D22-F8E1-E64B71960CE4}"/>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4327238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woObj" preserve="1">
  <p:cSld name="2 Col Text">
    <p:spTree>
      <p:nvGrpSpPr>
        <p:cNvPr id="1" name=""/>
        <p:cNvGrpSpPr/>
        <p:nvPr/>
      </p:nvGrpSpPr>
      <p:grpSpPr>
        <a:xfrm>
          <a:off x="0" y="0"/>
          <a:ext cx="0" cy="0"/>
          <a:chOff x="0" y="0"/>
          <a:chExt cx="0" cy="0"/>
        </a:xfrm>
      </p:grpSpPr>
      <p:graphicFrame>
        <p:nvGraphicFramePr>
          <p:cNvPr id="5" name="Object 7" hidden="1">
            <a:extLst>
              <a:ext uri="{FF2B5EF4-FFF2-40B4-BE49-F238E27FC236}">
                <a16:creationId xmlns:a16="http://schemas.microsoft.com/office/drawing/2014/main" id="{7F26F849-3714-56CC-6142-3E08BC290BF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a:extLst>
                          <a:ext uri="{FF2B5EF4-FFF2-40B4-BE49-F238E27FC236}">
                            <a16:creationId xmlns:a16="http://schemas.microsoft.com/office/drawing/2014/main" id="{7F26F849-3714-56CC-6142-3E08BC290B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object 2">
            <a:extLst>
              <a:ext uri="{FF2B5EF4-FFF2-40B4-BE49-F238E27FC236}">
                <a16:creationId xmlns:a16="http://schemas.microsoft.com/office/drawing/2014/main" id="{93797526-CB52-A699-E0E0-0EB642A612CE}"/>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6">
            <a:extLst>
              <a:ext uri="{FF2B5EF4-FFF2-40B4-BE49-F238E27FC236}">
                <a16:creationId xmlns:a16="http://schemas.microsoft.com/office/drawing/2014/main" id="{97AC0150-8772-A9EA-3348-76E0D5F60260}"/>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10" name="object 2">
            <a:extLst>
              <a:ext uri="{FF2B5EF4-FFF2-40B4-BE49-F238E27FC236}">
                <a16:creationId xmlns:a16="http://schemas.microsoft.com/office/drawing/2014/main" id="{BD5C9C50-5621-BF7B-D930-EF42B9DC55F7}"/>
              </a:ext>
            </a:extLst>
          </p:cNvPr>
          <p:cNvGrpSpPr>
            <a:grpSpLocks/>
          </p:cNvGrpSpPr>
          <p:nvPr/>
        </p:nvGrpSpPr>
        <p:grpSpPr bwMode="auto">
          <a:xfrm>
            <a:off x="11002963" y="-4763"/>
            <a:ext cx="1163637" cy="1343026"/>
            <a:chOff x="11002424" y="0"/>
            <a:chExt cx="1163955" cy="1342390"/>
          </a:xfrm>
        </p:grpSpPr>
        <p:sp>
          <p:nvSpPr>
            <p:cNvPr id="11" name="object 3">
              <a:extLst>
                <a:ext uri="{FF2B5EF4-FFF2-40B4-BE49-F238E27FC236}">
                  <a16:creationId xmlns:a16="http://schemas.microsoft.com/office/drawing/2014/main" id="{900066DC-FB5C-E284-6836-E958CF7D84D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2" name="object 4">
              <a:extLst>
                <a:ext uri="{FF2B5EF4-FFF2-40B4-BE49-F238E27FC236}">
                  <a16:creationId xmlns:a16="http://schemas.microsoft.com/office/drawing/2014/main" id="{B77C3DA2-FCE4-8F18-2541-1A574B5949C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3" name="Object 16" hidden="1">
            <a:extLst>
              <a:ext uri="{FF2B5EF4-FFF2-40B4-BE49-F238E27FC236}">
                <a16:creationId xmlns:a16="http://schemas.microsoft.com/office/drawing/2014/main" id="{78A7D184-BEE1-8194-4B6C-6D9408CC46A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3" name="Object 16" hidden="1">
                        <a:extLst>
                          <a:ext uri="{FF2B5EF4-FFF2-40B4-BE49-F238E27FC236}">
                            <a16:creationId xmlns:a16="http://schemas.microsoft.com/office/drawing/2014/main" id="{78A7D184-BEE1-8194-4B6C-6D9408CC46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4" name="Straight Connector 13">
            <a:extLst>
              <a:ext uri="{FF2B5EF4-FFF2-40B4-BE49-F238E27FC236}">
                <a16:creationId xmlns:a16="http://schemas.microsoft.com/office/drawing/2014/main" id="{C934625B-0448-ED59-C74D-670ADBFC04E2}"/>
              </a:ext>
            </a:extLst>
          </p:cNvPr>
          <p:cNvCxnSpPr>
            <a:cxnSpLocks/>
          </p:cNvCxnSpPr>
          <p:nvPr/>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966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5075"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Date Placeholder 4">
            <a:extLst>
              <a:ext uri="{FF2B5EF4-FFF2-40B4-BE49-F238E27FC236}">
                <a16:creationId xmlns:a16="http://schemas.microsoft.com/office/drawing/2014/main" id="{BCD9A58B-5D5D-2E6B-B172-7756037FA400}"/>
              </a:ext>
            </a:extLst>
          </p:cNvPr>
          <p:cNvSpPr>
            <a:spLocks noGrp="1"/>
          </p:cNvSpPr>
          <p:nvPr>
            <p:ph type="dt" sz="half" idx="10"/>
          </p:nvPr>
        </p:nvSpPr>
        <p:spPr/>
        <p:txBody>
          <a:bodyPr/>
          <a:lstStyle>
            <a:lvl1pPr>
              <a:defRPr/>
            </a:lvl1pPr>
          </a:lstStyle>
          <a:p>
            <a:pPr>
              <a:defRPr/>
            </a:pPr>
            <a:fld id="{282473E0-A4C4-4E3D-99D1-0D5B17590532}" type="datetime1">
              <a:rPr lang="en-US"/>
              <a:pPr>
                <a:defRPr/>
              </a:pPr>
              <a:t>1/18/26</a:t>
            </a:fld>
            <a:endParaRPr lang="en-US"/>
          </a:p>
        </p:txBody>
      </p:sp>
      <p:sp>
        <p:nvSpPr>
          <p:cNvPr id="17" name="Slide Number Placeholder 6">
            <a:extLst>
              <a:ext uri="{FF2B5EF4-FFF2-40B4-BE49-F238E27FC236}">
                <a16:creationId xmlns:a16="http://schemas.microsoft.com/office/drawing/2014/main" id="{71F8952D-E15C-7627-68B6-2EA1DAE36492}"/>
              </a:ext>
            </a:extLst>
          </p:cNvPr>
          <p:cNvSpPr>
            <a:spLocks noGrp="1"/>
          </p:cNvSpPr>
          <p:nvPr>
            <p:ph type="sldNum" sz="quarter" idx="12"/>
          </p:nvPr>
        </p:nvSpPr>
        <p:spPr/>
        <p:txBody>
          <a:bodyPr/>
          <a:lstStyle>
            <a:lvl1pPr>
              <a:defRPr/>
            </a:lvl1pPr>
          </a:lstStyle>
          <a:p>
            <a:pPr>
              <a:defRPr/>
            </a:pPr>
            <a:fld id="{FB155568-9D23-48D5-ADBD-2C51E64E96A1}" type="slidenum">
              <a:rPr lang="en-US"/>
              <a:pPr>
                <a:defRPr/>
              </a:pPr>
              <a:t>‹#›</a:t>
            </a:fld>
            <a:endParaRPr lang="en-US"/>
          </a:p>
        </p:txBody>
      </p:sp>
      <p:sp>
        <p:nvSpPr>
          <p:cNvPr id="9" name="Plassholder for bunntekst 1">
            <a:extLst>
              <a:ext uri="{FF2B5EF4-FFF2-40B4-BE49-F238E27FC236}">
                <a16:creationId xmlns:a16="http://schemas.microsoft.com/office/drawing/2014/main" id="{A83DADD3-E6A7-7D22-F8E1-E64B71960CE4}"/>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30238433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344039EA-FE63-FAC0-F64C-32F365047E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344039EA-FE63-FAC0-F64C-32F365047E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B2495A66-0971-A1A7-E3C2-3447F453BEF5}"/>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0A567417-FD2B-10E2-89E6-7CDFAE037053}"/>
              </a:ext>
            </a:extLst>
          </p:cNvPr>
          <p:cNvSpPr>
            <a:spLocks/>
          </p:cNvSpPr>
          <p:nvPr/>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86623DB8-C18C-DFB8-C43E-03CCE2ECEAA3}"/>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B713B5C8-4086-11E9-C842-5CE8426CED22}"/>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1F76BEE7-4D88-988C-4014-AB0139F0E70F}"/>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94E0F9B7-1700-0F93-4D33-7F1A87EB4F9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1B56EE33-BC5B-BEB8-3E89-43CD6D96912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1B56EE33-BC5B-BEB8-3E89-43CD6D9691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2" name="Date Placeholder 2">
            <a:extLst>
              <a:ext uri="{FF2B5EF4-FFF2-40B4-BE49-F238E27FC236}">
                <a16:creationId xmlns:a16="http://schemas.microsoft.com/office/drawing/2014/main" id="{0FB91E40-E532-03C9-EA85-6D1B20489AE9}"/>
              </a:ext>
            </a:extLst>
          </p:cNvPr>
          <p:cNvSpPr>
            <a:spLocks noGrp="1"/>
          </p:cNvSpPr>
          <p:nvPr>
            <p:ph type="dt" sz="half" idx="10"/>
          </p:nvPr>
        </p:nvSpPr>
        <p:spPr/>
        <p:txBody>
          <a:bodyPr/>
          <a:lstStyle>
            <a:lvl1pPr>
              <a:defRPr/>
            </a:lvl1pPr>
          </a:lstStyle>
          <a:p>
            <a:pPr>
              <a:defRPr/>
            </a:pPr>
            <a:fld id="{DA9B3574-C79A-4936-AF75-18CD0E4415F8}" type="datetime1">
              <a:rPr lang="en-US"/>
              <a:pPr>
                <a:defRPr/>
              </a:pPr>
              <a:t>1/18/26</a:t>
            </a:fld>
            <a:endParaRPr lang="en-US"/>
          </a:p>
        </p:txBody>
      </p:sp>
      <p:sp>
        <p:nvSpPr>
          <p:cNvPr id="14" name="Slide Number Placeholder 4">
            <a:extLst>
              <a:ext uri="{FF2B5EF4-FFF2-40B4-BE49-F238E27FC236}">
                <a16:creationId xmlns:a16="http://schemas.microsoft.com/office/drawing/2014/main" id="{8DF0AE4E-0705-39F5-391F-436B04258E61}"/>
              </a:ext>
            </a:extLst>
          </p:cNvPr>
          <p:cNvSpPr>
            <a:spLocks noGrp="1"/>
          </p:cNvSpPr>
          <p:nvPr>
            <p:ph type="sldNum" sz="quarter" idx="12"/>
          </p:nvPr>
        </p:nvSpPr>
        <p:spPr/>
        <p:txBody>
          <a:bodyPr/>
          <a:lstStyle>
            <a:lvl1pPr>
              <a:defRPr/>
            </a:lvl1pPr>
          </a:lstStyle>
          <a:p>
            <a:pPr>
              <a:defRPr/>
            </a:pPr>
            <a:fld id="{32203F8C-E527-4284-BDBD-1576F2B85DD2}" type="slidenum">
              <a:rPr lang="en-US"/>
              <a:pPr>
                <a:defRPr/>
              </a:pPr>
              <a:t>‹#›</a:t>
            </a:fld>
            <a:endParaRPr lang="en-US"/>
          </a:p>
        </p:txBody>
      </p:sp>
    </p:spTree>
    <p:extLst>
      <p:ext uri="{BB962C8B-B14F-4D97-AF65-F5344CB8AC3E}">
        <p14:creationId xmlns:p14="http://schemas.microsoft.com/office/powerpoint/2010/main" val="37030180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New Hire">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6542C44A-815A-39CA-E3EC-9F13CB2CA3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6542C44A-815A-39CA-E3EC-9F13CB2CA3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3DC4B073-E35E-E3F8-98D1-974849946DCF}"/>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AD617C41-5993-64B0-3BA1-83B103442984}"/>
              </a:ext>
            </a:extLst>
          </p:cNvPr>
          <p:cNvSpPr>
            <a:spLocks/>
          </p:cNvSpPr>
          <p:nvPr/>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A53B981F-B3FC-CCBB-A278-D7439FFA17E7}"/>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0D9A1FEF-677B-EC76-4DE9-C184DEA0E7C6}"/>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80E3980A-09E7-CDA1-FFB1-D6EEED01495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1B88D80B-DB0E-28B0-4177-A800305D1B41}"/>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A9426580-CCCC-CCEE-B7FE-5102D3508AA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A9426580-CCCC-CCEE-B7FE-5102D3508A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7">
            <a:extLst>
              <a:ext uri="{FF2B5EF4-FFF2-40B4-BE49-F238E27FC236}">
                <a16:creationId xmlns:a16="http://schemas.microsoft.com/office/drawing/2014/main" id="{DAA0B10E-2531-BCB8-901C-74E18E618482}"/>
              </a:ext>
            </a:extLst>
          </p:cNvPr>
          <p:cNvSpPr txBox="1">
            <a:spLocks noChangeArrowheads="1"/>
          </p:cNvSpPr>
          <p:nvPr/>
        </p:nvSpPr>
        <p:spPr bwMode="auto">
          <a:xfrm>
            <a:off x="440055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solidFill>
                  <a:schemeClr val="bg1"/>
                </a:solidFill>
              </a:rPr>
              <a:t>Experience</a:t>
            </a:r>
          </a:p>
        </p:txBody>
      </p:sp>
      <p:sp>
        <p:nvSpPr>
          <p:cNvPr id="13" name="TextBox 18">
            <a:extLst>
              <a:ext uri="{FF2B5EF4-FFF2-40B4-BE49-F238E27FC236}">
                <a16:creationId xmlns:a16="http://schemas.microsoft.com/office/drawing/2014/main" id="{7CA6E45B-418B-382B-7F2E-8B8A56A5054E}"/>
              </a:ext>
            </a:extLst>
          </p:cNvPr>
          <p:cNvSpPr txBox="1">
            <a:spLocks noChangeArrowheads="1"/>
          </p:cNvSpPr>
          <p:nvPr/>
        </p:nvSpPr>
        <p:spPr bwMode="auto">
          <a:xfrm>
            <a:off x="811530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solidFill>
                  <a:schemeClr val="bg1"/>
                </a:solidFill>
              </a:rPr>
              <a:t>Education</a:t>
            </a:r>
          </a:p>
        </p:txBody>
      </p:sp>
      <p:cxnSp>
        <p:nvCxnSpPr>
          <p:cNvPr id="15" name="Straight Connector 14">
            <a:extLst>
              <a:ext uri="{FF2B5EF4-FFF2-40B4-BE49-F238E27FC236}">
                <a16:creationId xmlns:a16="http://schemas.microsoft.com/office/drawing/2014/main" id="{2F62AD3F-E5BB-D6FC-AF4E-ABDF81702FD0}"/>
              </a:ext>
            </a:extLst>
          </p:cNvPr>
          <p:cNvCxnSpPr>
            <a:cxnSpLocks/>
          </p:cNvCxnSpPr>
          <p:nvPr/>
        </p:nvCxnSpPr>
        <p:spPr>
          <a:xfrm>
            <a:off x="7929563" y="2425700"/>
            <a:ext cx="0" cy="32464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p>
        </p:txBody>
      </p:sp>
      <p:sp>
        <p:nvSpPr>
          <p:cNvPr id="14" name="Text Placeholder 13"/>
          <p:cNvSpPr>
            <a:spLocks noGrp="1"/>
          </p:cNvSpPr>
          <p:nvPr>
            <p:ph type="body" sz="quarter" idx="13"/>
          </p:nvPr>
        </p:nvSpPr>
        <p:spPr>
          <a:xfrm>
            <a:off x="4399874" y="2425937"/>
            <a:ext cx="3343973" cy="338554"/>
          </a:xfrm>
        </p:spPr>
        <p:txBody>
          <a:bodyPr/>
          <a:lstStyle>
            <a:lvl1pPr>
              <a:defRPr/>
            </a:lvl1pPr>
          </a:lstStyle>
          <a:p>
            <a:pPr lvl="0"/>
            <a:r>
              <a:rPr lang="en-US"/>
              <a:t>Click to edit Master text styles</a:t>
            </a:r>
          </a:p>
        </p:txBody>
      </p:sp>
      <p:sp>
        <p:nvSpPr>
          <p:cNvPr id="22" name="Text Placeholder 13"/>
          <p:cNvSpPr>
            <a:spLocks noGrp="1"/>
          </p:cNvSpPr>
          <p:nvPr>
            <p:ph type="body" sz="quarter" idx="14"/>
          </p:nvPr>
        </p:nvSpPr>
        <p:spPr>
          <a:xfrm>
            <a:off x="8115326" y="2425937"/>
            <a:ext cx="3159132" cy="338554"/>
          </a:xfrm>
        </p:spPr>
        <p:txBody>
          <a:bodyPr/>
          <a:lstStyle>
            <a:lvl1pPr>
              <a:defRPr/>
            </a:lvl1pPr>
          </a:lstStyle>
          <a:p>
            <a:pPr lvl="0"/>
            <a:r>
              <a:rPr lang="en-US"/>
              <a:t>Click to edit Master text styles</a:t>
            </a:r>
          </a:p>
        </p:txBody>
      </p:sp>
      <p:sp>
        <p:nvSpPr>
          <p:cNvPr id="24" name="Text Placeholder 23"/>
          <p:cNvSpPr>
            <a:spLocks noGrp="1"/>
          </p:cNvSpPr>
          <p:nvPr>
            <p:ph type="body" sz="quarter" idx="15"/>
          </p:nvPr>
        </p:nvSpPr>
        <p:spPr>
          <a:xfrm>
            <a:off x="600075" y="1998098"/>
            <a:ext cx="3341688" cy="338554"/>
          </a:xfrm>
        </p:spPr>
        <p:txBody>
          <a:bodyPr/>
          <a:lstStyle>
            <a:lvl1pPr marL="0" indent="0">
              <a:buNone/>
              <a:defRPr b="1"/>
            </a:lvl1pPr>
          </a:lstStyle>
          <a:p>
            <a:pPr lvl="0"/>
            <a:r>
              <a:rPr lang="en-US"/>
              <a:t>Click to edit Master text styles</a:t>
            </a:r>
          </a:p>
        </p:txBody>
      </p:sp>
      <p:sp>
        <p:nvSpPr>
          <p:cNvPr id="26" name="Picture Placeholder 25"/>
          <p:cNvSpPr>
            <a:spLocks noGrp="1"/>
          </p:cNvSpPr>
          <p:nvPr>
            <p:ph type="pic" sz="quarter" idx="16"/>
          </p:nvPr>
        </p:nvSpPr>
        <p:spPr>
          <a:xfrm>
            <a:off x="695325" y="2425937"/>
            <a:ext cx="3246438" cy="3246539"/>
          </a:xfrm>
        </p:spPr>
        <p:txBody>
          <a:bodyPr rtlCol="0" anchor="ctr"/>
          <a:lstStyle>
            <a:lvl1pPr marL="0" indent="0" algn="ctr">
              <a:buNone/>
              <a:defRPr sz="1000"/>
            </a:lvl1pPr>
          </a:lstStyle>
          <a:p>
            <a:pPr lvl="0"/>
            <a:r>
              <a:rPr lang="en-US" noProof="0"/>
              <a:t>Click icon to add picture</a:t>
            </a:r>
          </a:p>
        </p:txBody>
      </p:sp>
      <p:sp>
        <p:nvSpPr>
          <p:cNvPr id="16" name="Date Placeholder 2">
            <a:extLst>
              <a:ext uri="{FF2B5EF4-FFF2-40B4-BE49-F238E27FC236}">
                <a16:creationId xmlns:a16="http://schemas.microsoft.com/office/drawing/2014/main" id="{1D5C5E8A-D45C-062C-AD23-AC62F6B1E082}"/>
              </a:ext>
            </a:extLst>
          </p:cNvPr>
          <p:cNvSpPr>
            <a:spLocks noGrp="1"/>
          </p:cNvSpPr>
          <p:nvPr>
            <p:ph type="dt" sz="half" idx="17"/>
          </p:nvPr>
        </p:nvSpPr>
        <p:spPr/>
        <p:txBody>
          <a:bodyPr/>
          <a:lstStyle>
            <a:lvl1pPr>
              <a:defRPr/>
            </a:lvl1pPr>
          </a:lstStyle>
          <a:p>
            <a:pPr>
              <a:defRPr/>
            </a:pPr>
            <a:fld id="{40050EBD-4D68-4F7E-B632-911F04E77E1C}" type="datetime1">
              <a:rPr lang="en-US"/>
              <a:pPr>
                <a:defRPr/>
              </a:pPr>
              <a:t>1/18/26</a:t>
            </a:fld>
            <a:endParaRPr lang="en-US"/>
          </a:p>
        </p:txBody>
      </p:sp>
      <p:sp>
        <p:nvSpPr>
          <p:cNvPr id="18" name="Slide Number Placeholder 4">
            <a:extLst>
              <a:ext uri="{FF2B5EF4-FFF2-40B4-BE49-F238E27FC236}">
                <a16:creationId xmlns:a16="http://schemas.microsoft.com/office/drawing/2014/main" id="{F8CB6440-3BB7-DDE7-BB30-FA203EF4F332}"/>
              </a:ext>
            </a:extLst>
          </p:cNvPr>
          <p:cNvSpPr>
            <a:spLocks noGrp="1"/>
          </p:cNvSpPr>
          <p:nvPr>
            <p:ph type="sldNum" sz="quarter" idx="19"/>
          </p:nvPr>
        </p:nvSpPr>
        <p:spPr/>
        <p:txBody>
          <a:bodyPr/>
          <a:lstStyle>
            <a:lvl1pPr>
              <a:defRPr/>
            </a:lvl1pPr>
          </a:lstStyle>
          <a:p>
            <a:pPr>
              <a:defRPr/>
            </a:pPr>
            <a:fld id="{375FE0AF-4B47-4ADC-8D97-B91EEAB6669E}" type="slidenum">
              <a:rPr lang="en-US"/>
              <a:pPr>
                <a:defRPr/>
              </a:pPr>
              <a:t>‹#›</a:t>
            </a:fld>
            <a:endParaRPr lang="en-US"/>
          </a:p>
        </p:txBody>
      </p:sp>
    </p:spTree>
    <p:extLst>
      <p:ext uri="{BB962C8B-B14F-4D97-AF65-F5344CB8AC3E}">
        <p14:creationId xmlns:p14="http://schemas.microsoft.com/office/powerpoint/2010/main" val="29826223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63B8D39A-6A5C-04F2-6597-FEDC5E3978A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7" hidden="1">
                        <a:extLst>
                          <a:ext uri="{FF2B5EF4-FFF2-40B4-BE49-F238E27FC236}">
                            <a16:creationId xmlns:a16="http://schemas.microsoft.com/office/drawing/2014/main" id="{63B8D39A-6A5C-04F2-6597-FEDC5E3978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6BE14BFB-A97F-5686-EE74-0E0412179E40}"/>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A9CF04EC-05AF-7219-248E-023F8CF0D2F1}"/>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47B7D8B9-1669-AF71-08E5-7332CBBAFAAA}"/>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TextBox 23">
            <a:extLst>
              <a:ext uri="{FF2B5EF4-FFF2-40B4-BE49-F238E27FC236}">
                <a16:creationId xmlns:a16="http://schemas.microsoft.com/office/drawing/2014/main" id="{3E7DC435-CBF7-9827-FE0B-E2EE25CFCC15}"/>
              </a:ext>
            </a:extLst>
          </p:cNvPr>
          <p:cNvSpPr txBox="1">
            <a:spLocks noChangeArrowheads="1"/>
          </p:cNvSpPr>
          <p:nvPr/>
        </p:nvSpPr>
        <p:spPr bwMode="auto">
          <a:xfrm>
            <a:off x="5397500" y="6542088"/>
            <a:ext cx="1768475" cy="231775"/>
          </a:xfrm>
          <a:prstGeom prst="rect">
            <a:avLst/>
          </a:prstGeom>
          <a:noFill/>
          <a:ln w="9525">
            <a:solidFill>
              <a:schemeClr val="bg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nb-NO" sz="900">
                <a:solidFill>
                  <a:schemeClr val="bg1"/>
                </a:solidFill>
              </a:rPr>
              <a:t>CLASSIFICATION: INTERNAL</a:t>
            </a:r>
          </a:p>
        </p:txBody>
      </p:sp>
      <p:grpSp>
        <p:nvGrpSpPr>
          <p:cNvPr id="8" name="object 2">
            <a:extLst>
              <a:ext uri="{FF2B5EF4-FFF2-40B4-BE49-F238E27FC236}">
                <a16:creationId xmlns:a16="http://schemas.microsoft.com/office/drawing/2014/main" id="{8EC59CC8-B219-57BD-B30A-2596E61A3043}"/>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7354C638-0BC3-30CA-F45B-BD6969E20D9D}"/>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8FF5ED31-19C7-8ABD-D024-541C73519362}"/>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FBB6C640-F0A6-48E3-92AE-37912B44819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FBB6C640-F0A6-48E3-92AE-37912B4481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object 2">
            <a:extLst>
              <a:ext uri="{FF2B5EF4-FFF2-40B4-BE49-F238E27FC236}">
                <a16:creationId xmlns:a16="http://schemas.microsoft.com/office/drawing/2014/main" id="{5DF4099D-70F4-2F0F-77C7-3FE33C4B926D}"/>
              </a:ext>
            </a:extLst>
          </p:cNvPr>
          <p:cNvSpPr>
            <a:spLocks/>
          </p:cNvSpPr>
          <p:nvPr/>
        </p:nvSpPr>
        <p:spPr bwMode="auto">
          <a:xfrm>
            <a:off x="0" y="0"/>
            <a:ext cx="12192000" cy="6858000"/>
          </a:xfrm>
          <a:custGeom>
            <a:avLst/>
            <a:gdLst>
              <a:gd name="T0" fmla="*/ 12192000 w 12192000"/>
              <a:gd name="T1" fmla="*/ 0 h 6858000"/>
              <a:gd name="T2" fmla="*/ 0 w 12192000"/>
              <a:gd name="T3" fmla="*/ 0 h 6858000"/>
              <a:gd name="T4" fmla="*/ 0 w 12192000"/>
              <a:gd name="T5" fmla="*/ 6858000 h 6858000"/>
              <a:gd name="T6" fmla="*/ 12192000 w 12192000"/>
              <a:gd name="T7" fmla="*/ 6858000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object 5">
            <a:extLst>
              <a:ext uri="{FF2B5EF4-FFF2-40B4-BE49-F238E27FC236}">
                <a16:creationId xmlns:a16="http://schemas.microsoft.com/office/drawing/2014/main" id="{992956BB-BF53-564C-20B8-757CB74B8172}"/>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6">
            <a:extLst>
              <a:ext uri="{FF2B5EF4-FFF2-40B4-BE49-F238E27FC236}">
                <a16:creationId xmlns:a16="http://schemas.microsoft.com/office/drawing/2014/main" id="{C92712CF-1FAC-A81A-6D1D-777416D24666}"/>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7">
            <a:extLst>
              <a:ext uri="{FF2B5EF4-FFF2-40B4-BE49-F238E27FC236}">
                <a16:creationId xmlns:a16="http://schemas.microsoft.com/office/drawing/2014/main" id="{C931AE60-86B9-F129-0279-4FFBF46EA587}"/>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3">
            <a:extLst>
              <a:ext uri="{FF2B5EF4-FFF2-40B4-BE49-F238E27FC236}">
                <a16:creationId xmlns:a16="http://schemas.microsoft.com/office/drawing/2014/main" id="{AF3D580C-D4AF-2E98-3463-B8B7404565F9}"/>
              </a:ext>
            </a:extLst>
          </p:cNvPr>
          <p:cNvSpPr>
            <a:spLocks/>
          </p:cNvSpPr>
          <p:nvPr/>
        </p:nvSpPr>
        <p:spPr bwMode="auto">
          <a:xfrm>
            <a:off x="684213" y="698500"/>
            <a:ext cx="1790700" cy="676275"/>
          </a:xfrm>
          <a:custGeom>
            <a:avLst/>
            <a:gdLst>
              <a:gd name="T0" fmla="*/ 0 w 1791335"/>
              <a:gd name="T1" fmla="*/ 664746 h 675640"/>
              <a:gd name="T2" fmla="*/ 136495 w 1791335"/>
              <a:gd name="T3" fmla="*/ 0 h 675640"/>
              <a:gd name="T4" fmla="*/ 293128 w 1791335"/>
              <a:gd name="T5" fmla="*/ 664746 h 675640"/>
              <a:gd name="T6" fmla="*/ 268514 w 1791335"/>
              <a:gd name="T7" fmla="*/ 434212 h 675640"/>
              <a:gd name="T8" fmla="*/ 293128 w 1791335"/>
              <a:gd name="T9" fmla="*/ 203676 h 675640"/>
              <a:gd name="T10" fmla="*/ 293128 w 1791335"/>
              <a:gd name="T11" fmla="*/ 664746 h 675640"/>
              <a:gd name="T12" fmla="*/ 1203839 w 1791335"/>
              <a:gd name="T13" fmla="*/ 664746 h 675640"/>
              <a:gd name="T14" fmla="*/ 1340335 w 1791335"/>
              <a:gd name="T15" fmla="*/ 0 h 675640"/>
              <a:gd name="T16" fmla="*/ 1631226 w 1791335"/>
              <a:gd name="T17" fmla="*/ 664746 h 675640"/>
              <a:gd name="T18" fmla="*/ 1340335 w 1791335"/>
              <a:gd name="T19" fmla="*/ 434212 h 675640"/>
              <a:gd name="T20" fmla="*/ 1631226 w 1791335"/>
              <a:gd name="T21" fmla="*/ 203676 h 675640"/>
              <a:gd name="T22" fmla="*/ 1631226 w 1791335"/>
              <a:gd name="T23" fmla="*/ 664746 h 675640"/>
              <a:gd name="T24" fmla="*/ 567019 w 1791335"/>
              <a:gd name="T25" fmla="*/ 670217 h 675640"/>
              <a:gd name="T26" fmla="*/ 500947 w 1791335"/>
              <a:gd name="T27" fmla="*/ 625578 h 675640"/>
              <a:gd name="T28" fmla="*/ 472914 w 1791335"/>
              <a:gd name="T29" fmla="*/ 539158 h 675640"/>
              <a:gd name="T30" fmla="*/ 469900 w 1791335"/>
              <a:gd name="T31" fmla="*/ 203676 h 675640"/>
              <a:gd name="T32" fmla="*/ 601968 w 1791335"/>
              <a:gd name="T33" fmla="*/ 447640 h 675640"/>
              <a:gd name="T34" fmla="*/ 610031 w 1791335"/>
              <a:gd name="T35" fmla="*/ 531014 h 675640"/>
              <a:gd name="T36" fmla="*/ 666811 w 1791335"/>
              <a:gd name="T37" fmla="*/ 566266 h 675640"/>
              <a:gd name="T38" fmla="*/ 874910 w 1791335"/>
              <a:gd name="T39" fmla="*/ 599838 h 675640"/>
              <a:gd name="T40" fmla="*/ 721107 w 1791335"/>
              <a:gd name="T41" fmla="*/ 631558 h 675640"/>
              <a:gd name="T42" fmla="*/ 660762 w 1791335"/>
              <a:gd name="T43" fmla="*/ 670657 h 675640"/>
              <a:gd name="T44" fmla="*/ 874910 w 1791335"/>
              <a:gd name="T45" fmla="*/ 566266 h 675640"/>
              <a:gd name="T46" fmla="*/ 702298 w 1791335"/>
              <a:gd name="T47" fmla="*/ 559691 h 675640"/>
              <a:gd name="T48" fmla="*/ 738869 w 1791335"/>
              <a:gd name="T49" fmla="*/ 502057 h 675640"/>
              <a:gd name="T50" fmla="*/ 742890 w 1791335"/>
              <a:gd name="T51" fmla="*/ 203676 h 675640"/>
              <a:gd name="T52" fmla="*/ 874910 w 1791335"/>
              <a:gd name="T53" fmla="*/ 566266 h 675640"/>
              <a:gd name="T54" fmla="*/ 742890 w 1791335"/>
              <a:gd name="T55" fmla="*/ 664746 h 675640"/>
              <a:gd name="T56" fmla="*/ 874910 w 1791335"/>
              <a:gd name="T57" fmla="*/ 599838 h 675640"/>
              <a:gd name="T58" fmla="*/ 1143424 w 1791335"/>
              <a:gd name="T59" fmla="*/ 664746 h 675640"/>
              <a:gd name="T60" fmla="*/ 1046777 w 1791335"/>
              <a:gd name="T61" fmla="*/ 661559 h 675640"/>
              <a:gd name="T62" fmla="*/ 977965 w 1791335"/>
              <a:gd name="T63" fmla="*/ 627038 h 675640"/>
              <a:gd name="T64" fmla="*/ 957701 w 1791335"/>
              <a:gd name="T65" fmla="*/ 534930 h 675640"/>
              <a:gd name="T66" fmla="*/ 1094196 w 1791335"/>
              <a:gd name="T67" fmla="*/ 0 h 675640"/>
              <a:gd name="T68" fmla="*/ 1091959 w 1791335"/>
              <a:gd name="T69" fmla="*/ 501358 h 675640"/>
              <a:gd name="T70" fmla="*/ 1103427 w 1791335"/>
              <a:gd name="T71" fmla="*/ 542205 h 675640"/>
              <a:gd name="T72" fmla="*/ 1143424 w 1791335"/>
              <a:gd name="T73" fmla="*/ 552836 h 675640"/>
              <a:gd name="T74" fmla="*/ 1734156 w 1791335"/>
              <a:gd name="T75" fmla="*/ 212629 h 675640"/>
              <a:gd name="T76" fmla="*/ 1698354 w 1791335"/>
              <a:gd name="T77" fmla="*/ 203676 h 675640"/>
              <a:gd name="T78" fmla="*/ 1734156 w 1791335"/>
              <a:gd name="T79" fmla="*/ 212629 h 675640"/>
              <a:gd name="T80" fmla="*/ 1711779 w 1791335"/>
              <a:gd name="T81" fmla="*/ 246202 h 675640"/>
              <a:gd name="T82" fmla="*/ 1720730 w 1791335"/>
              <a:gd name="T83" fmla="*/ 212629 h 675640"/>
              <a:gd name="T84" fmla="*/ 1752057 w 1791335"/>
              <a:gd name="T85" fmla="*/ 246202 h 675640"/>
              <a:gd name="T86" fmla="*/ 1740869 w 1791335"/>
              <a:gd name="T87" fmla="*/ 203676 h 675640"/>
              <a:gd name="T88" fmla="*/ 1760663 w 1791335"/>
              <a:gd name="T89" fmla="*/ 217106 h 675640"/>
              <a:gd name="T90" fmla="*/ 1752057 w 1791335"/>
              <a:gd name="T91" fmla="*/ 246202 h 675640"/>
              <a:gd name="T92" fmla="*/ 1765482 w 1791335"/>
              <a:gd name="T93" fmla="*/ 232773 h 675640"/>
              <a:gd name="T94" fmla="*/ 1790096 w 1791335"/>
              <a:gd name="T95" fmla="*/ 203676 h 675640"/>
              <a:gd name="T96" fmla="*/ 1778908 w 1791335"/>
              <a:gd name="T97" fmla="*/ 217106 h 675640"/>
              <a:gd name="T98" fmla="*/ 1769957 w 1791335"/>
              <a:gd name="T99" fmla="*/ 246202 h 675640"/>
              <a:gd name="T100" fmla="*/ 1752057 w 1791335"/>
              <a:gd name="T101" fmla="*/ 217106 h 675640"/>
              <a:gd name="T102" fmla="*/ 1765482 w 1791335"/>
              <a:gd name="T103" fmla="*/ 232773 h 675640"/>
              <a:gd name="T104" fmla="*/ 1769957 w 1791335"/>
              <a:gd name="T105" fmla="*/ 246202 h 675640"/>
              <a:gd name="T106" fmla="*/ 1778908 w 1791335"/>
              <a:gd name="T107" fmla="*/ 246202 h 675640"/>
              <a:gd name="T108" fmla="*/ 1790096 w 1791335"/>
              <a:gd name="T109" fmla="*/ 217106 h 6756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91335" h="675640">
                <a:moveTo>
                  <a:pt x="136543" y="664122"/>
                </a:moveTo>
                <a:lnTo>
                  <a:pt x="0" y="664122"/>
                </a:lnTo>
                <a:lnTo>
                  <a:pt x="0" y="0"/>
                </a:lnTo>
                <a:lnTo>
                  <a:pt x="136543" y="0"/>
                </a:lnTo>
                <a:lnTo>
                  <a:pt x="136543" y="664122"/>
                </a:lnTo>
                <a:close/>
              </a:path>
              <a:path w="1791335" h="675640">
                <a:moveTo>
                  <a:pt x="293232" y="664122"/>
                </a:moveTo>
                <a:lnTo>
                  <a:pt x="136543" y="664122"/>
                </a:lnTo>
                <a:lnTo>
                  <a:pt x="268609" y="433804"/>
                </a:lnTo>
                <a:lnTo>
                  <a:pt x="136543" y="203485"/>
                </a:lnTo>
                <a:lnTo>
                  <a:pt x="293232" y="203485"/>
                </a:lnTo>
                <a:lnTo>
                  <a:pt x="427537" y="433804"/>
                </a:lnTo>
                <a:lnTo>
                  <a:pt x="293232" y="664122"/>
                </a:lnTo>
                <a:close/>
              </a:path>
              <a:path w="1791335" h="675640">
                <a:moveTo>
                  <a:pt x="1340810" y="664122"/>
                </a:moveTo>
                <a:lnTo>
                  <a:pt x="1204266" y="664122"/>
                </a:lnTo>
                <a:lnTo>
                  <a:pt x="1204266" y="0"/>
                </a:lnTo>
                <a:lnTo>
                  <a:pt x="1340810" y="0"/>
                </a:lnTo>
                <a:lnTo>
                  <a:pt x="1340810" y="664122"/>
                </a:lnTo>
                <a:close/>
              </a:path>
              <a:path w="1791335" h="675640">
                <a:moveTo>
                  <a:pt x="1631804" y="664122"/>
                </a:moveTo>
                <a:lnTo>
                  <a:pt x="1472876" y="664122"/>
                </a:lnTo>
                <a:lnTo>
                  <a:pt x="1340810" y="433804"/>
                </a:lnTo>
                <a:lnTo>
                  <a:pt x="1472876" y="203485"/>
                </a:lnTo>
                <a:lnTo>
                  <a:pt x="1631804" y="203485"/>
                </a:lnTo>
                <a:lnTo>
                  <a:pt x="1497499" y="433804"/>
                </a:lnTo>
                <a:lnTo>
                  <a:pt x="1631804" y="664122"/>
                </a:lnTo>
                <a:close/>
              </a:path>
              <a:path w="1791335" h="675640">
                <a:moveTo>
                  <a:pt x="617802" y="675303"/>
                </a:moveTo>
                <a:lnTo>
                  <a:pt x="567220" y="669588"/>
                </a:lnTo>
                <a:lnTo>
                  <a:pt x="528763" y="652693"/>
                </a:lnTo>
                <a:lnTo>
                  <a:pt x="501125" y="624991"/>
                </a:lnTo>
                <a:lnTo>
                  <a:pt x="483000" y="586853"/>
                </a:lnTo>
                <a:lnTo>
                  <a:pt x="473082" y="538652"/>
                </a:lnTo>
                <a:lnTo>
                  <a:pt x="470067" y="480762"/>
                </a:lnTo>
                <a:lnTo>
                  <a:pt x="470067" y="203485"/>
                </a:lnTo>
                <a:lnTo>
                  <a:pt x="602133" y="203485"/>
                </a:lnTo>
                <a:lnTo>
                  <a:pt x="602181" y="447220"/>
                </a:lnTo>
                <a:lnTo>
                  <a:pt x="603147" y="492152"/>
                </a:lnTo>
                <a:lnTo>
                  <a:pt x="610247" y="530515"/>
                </a:lnTo>
                <a:lnTo>
                  <a:pt x="629519" y="556300"/>
                </a:lnTo>
                <a:lnTo>
                  <a:pt x="667047" y="565734"/>
                </a:lnTo>
                <a:lnTo>
                  <a:pt x="875220" y="565734"/>
                </a:lnTo>
                <a:lnTo>
                  <a:pt x="875220" y="599275"/>
                </a:lnTo>
                <a:lnTo>
                  <a:pt x="743153" y="599275"/>
                </a:lnTo>
                <a:lnTo>
                  <a:pt x="721363" y="630965"/>
                </a:lnTo>
                <a:lnTo>
                  <a:pt x="694747" y="654899"/>
                </a:lnTo>
                <a:lnTo>
                  <a:pt x="660996" y="670027"/>
                </a:lnTo>
                <a:lnTo>
                  <a:pt x="617802" y="675303"/>
                </a:lnTo>
                <a:close/>
              </a:path>
              <a:path w="1791335" h="675640">
                <a:moveTo>
                  <a:pt x="875220" y="565734"/>
                </a:moveTo>
                <a:lnTo>
                  <a:pt x="667047" y="565734"/>
                </a:lnTo>
                <a:lnTo>
                  <a:pt x="702547" y="559165"/>
                </a:lnTo>
                <a:lnTo>
                  <a:pt x="726085" y="538342"/>
                </a:lnTo>
                <a:lnTo>
                  <a:pt x="739131" y="501586"/>
                </a:lnTo>
                <a:lnTo>
                  <a:pt x="743153" y="447220"/>
                </a:lnTo>
                <a:lnTo>
                  <a:pt x="743153" y="203485"/>
                </a:lnTo>
                <a:lnTo>
                  <a:pt x="875220" y="203485"/>
                </a:lnTo>
                <a:lnTo>
                  <a:pt x="875220" y="565734"/>
                </a:lnTo>
                <a:close/>
              </a:path>
              <a:path w="1791335" h="675640">
                <a:moveTo>
                  <a:pt x="875220" y="664122"/>
                </a:moveTo>
                <a:lnTo>
                  <a:pt x="743153" y="664122"/>
                </a:lnTo>
                <a:lnTo>
                  <a:pt x="743153" y="599275"/>
                </a:lnTo>
                <a:lnTo>
                  <a:pt x="875220" y="599275"/>
                </a:lnTo>
                <a:lnTo>
                  <a:pt x="875220" y="664122"/>
                </a:lnTo>
                <a:close/>
              </a:path>
              <a:path w="1791335" h="675640">
                <a:moveTo>
                  <a:pt x="1143829" y="664122"/>
                </a:moveTo>
                <a:lnTo>
                  <a:pt x="1103538" y="664122"/>
                </a:lnTo>
                <a:lnTo>
                  <a:pt x="1047148" y="660938"/>
                </a:lnTo>
                <a:lnTo>
                  <a:pt x="1005907" y="649382"/>
                </a:lnTo>
                <a:lnTo>
                  <a:pt x="978312" y="626449"/>
                </a:lnTo>
                <a:lnTo>
                  <a:pt x="962858" y="589132"/>
                </a:lnTo>
                <a:lnTo>
                  <a:pt x="958041" y="534428"/>
                </a:lnTo>
                <a:lnTo>
                  <a:pt x="958041" y="0"/>
                </a:lnTo>
                <a:lnTo>
                  <a:pt x="1094584" y="0"/>
                </a:lnTo>
                <a:lnTo>
                  <a:pt x="1094584" y="500887"/>
                </a:lnTo>
                <a:lnTo>
                  <a:pt x="1092346" y="500887"/>
                </a:lnTo>
                <a:lnTo>
                  <a:pt x="1095039" y="525903"/>
                </a:lnTo>
                <a:lnTo>
                  <a:pt x="1103818" y="541696"/>
                </a:lnTo>
                <a:lnTo>
                  <a:pt x="1119731" y="549941"/>
                </a:lnTo>
                <a:lnTo>
                  <a:pt x="1143829" y="552317"/>
                </a:lnTo>
                <a:lnTo>
                  <a:pt x="1143829" y="664122"/>
                </a:lnTo>
                <a:close/>
              </a:path>
              <a:path w="1791335" h="675640">
                <a:moveTo>
                  <a:pt x="1734771" y="212429"/>
                </a:moveTo>
                <a:lnTo>
                  <a:pt x="1698956" y="212429"/>
                </a:lnTo>
                <a:lnTo>
                  <a:pt x="1698956" y="203485"/>
                </a:lnTo>
                <a:lnTo>
                  <a:pt x="1734771" y="203485"/>
                </a:lnTo>
                <a:lnTo>
                  <a:pt x="1734771" y="212429"/>
                </a:lnTo>
                <a:close/>
              </a:path>
              <a:path w="1791335" h="675640">
                <a:moveTo>
                  <a:pt x="1721340" y="245971"/>
                </a:moveTo>
                <a:lnTo>
                  <a:pt x="1712386" y="245971"/>
                </a:lnTo>
                <a:lnTo>
                  <a:pt x="1712386" y="212429"/>
                </a:lnTo>
                <a:lnTo>
                  <a:pt x="1721340" y="212429"/>
                </a:lnTo>
                <a:lnTo>
                  <a:pt x="1721340" y="245971"/>
                </a:lnTo>
                <a:close/>
              </a:path>
              <a:path w="1791335" h="675640">
                <a:moveTo>
                  <a:pt x="1752678" y="245971"/>
                </a:moveTo>
                <a:lnTo>
                  <a:pt x="1741486" y="245971"/>
                </a:lnTo>
                <a:lnTo>
                  <a:pt x="1741486" y="203485"/>
                </a:lnTo>
                <a:lnTo>
                  <a:pt x="1757155" y="203485"/>
                </a:lnTo>
                <a:lnTo>
                  <a:pt x="1761287" y="216902"/>
                </a:lnTo>
                <a:lnTo>
                  <a:pt x="1752678" y="216902"/>
                </a:lnTo>
                <a:lnTo>
                  <a:pt x="1752678" y="245971"/>
                </a:lnTo>
                <a:close/>
              </a:path>
              <a:path w="1791335" h="675640">
                <a:moveTo>
                  <a:pt x="1774718" y="232554"/>
                </a:moveTo>
                <a:lnTo>
                  <a:pt x="1766108" y="232554"/>
                </a:lnTo>
                <a:lnTo>
                  <a:pt x="1775062" y="203485"/>
                </a:lnTo>
                <a:lnTo>
                  <a:pt x="1790731" y="203485"/>
                </a:lnTo>
                <a:lnTo>
                  <a:pt x="1790731" y="216902"/>
                </a:lnTo>
                <a:lnTo>
                  <a:pt x="1779539" y="216902"/>
                </a:lnTo>
                <a:lnTo>
                  <a:pt x="1774718" y="232554"/>
                </a:lnTo>
                <a:close/>
              </a:path>
              <a:path w="1791335" h="675640">
                <a:moveTo>
                  <a:pt x="1770585" y="245971"/>
                </a:moveTo>
                <a:lnTo>
                  <a:pt x="1761632" y="245971"/>
                </a:lnTo>
                <a:lnTo>
                  <a:pt x="1752678" y="216902"/>
                </a:lnTo>
                <a:lnTo>
                  <a:pt x="1761287" y="216902"/>
                </a:lnTo>
                <a:lnTo>
                  <a:pt x="1766108" y="232554"/>
                </a:lnTo>
                <a:lnTo>
                  <a:pt x="1774718" y="232554"/>
                </a:lnTo>
                <a:lnTo>
                  <a:pt x="1770585" y="245971"/>
                </a:lnTo>
                <a:close/>
              </a:path>
              <a:path w="1791335" h="675640">
                <a:moveTo>
                  <a:pt x="1790731" y="245971"/>
                </a:moveTo>
                <a:lnTo>
                  <a:pt x="1779539" y="245971"/>
                </a:lnTo>
                <a:lnTo>
                  <a:pt x="1779539" y="216902"/>
                </a:lnTo>
                <a:lnTo>
                  <a:pt x="1790731" y="216902"/>
                </a:lnTo>
                <a:lnTo>
                  <a:pt x="1790731" y="2459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 name="Subtitle 2"/>
          <p:cNvSpPr>
            <a:spLocks noGrp="1"/>
          </p:cNvSpPr>
          <p:nvPr>
            <p:ph type="subTitle" idx="1"/>
          </p:nvPr>
        </p:nvSpPr>
        <p:spPr>
          <a:xfrm>
            <a:off x="596348" y="3414411"/>
            <a:ext cx="9144000" cy="40011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037499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ED5590-9138-0B7B-F972-D56CD6019807}"/>
              </a:ext>
            </a:extLst>
          </p:cNvPr>
          <p:cNvSpPr>
            <a:spLocks noGrp="1"/>
          </p:cNvSpPr>
          <p:nvPr>
            <p:ph type="dt" sz="half" idx="10"/>
          </p:nvPr>
        </p:nvSpPr>
        <p:spPr/>
        <p:txBody>
          <a:bodyPr/>
          <a:lstStyle/>
          <a:p>
            <a:fld id="{6B36D9B0-6D34-499A-96C7-6D738F1DA44D}" type="datetime1">
              <a:rPr lang="en-US" smtClean="0"/>
              <a:t>1/18/26</a:t>
            </a:fld>
            <a:endParaRPr lang="en-US"/>
          </a:p>
        </p:txBody>
      </p:sp>
      <p:sp>
        <p:nvSpPr>
          <p:cNvPr id="3" name="Footer Placeholder 2">
            <a:extLst>
              <a:ext uri="{FF2B5EF4-FFF2-40B4-BE49-F238E27FC236}">
                <a16:creationId xmlns:a16="http://schemas.microsoft.com/office/drawing/2014/main" id="{40FA8B14-A594-77E4-38D1-AFD48E64FC4A}"/>
              </a:ext>
            </a:extLst>
          </p:cNvPr>
          <p:cNvSpPr>
            <a:spLocks noGrp="1"/>
          </p:cNvSpPr>
          <p:nvPr>
            <p:ph type="ftr" sz="quarter" idx="11"/>
          </p:nvPr>
        </p:nvSpPr>
        <p:spPr>
          <a:xfrm>
            <a:off x="4038600" y="6345238"/>
            <a:ext cx="4114800" cy="365125"/>
          </a:xfrm>
          <a:prstGeom prst="rect">
            <a:avLst/>
          </a:prstGeom>
        </p:spPr>
        <p:txBody>
          <a:bodyPr/>
          <a:lstStyle/>
          <a:p>
            <a:r>
              <a:rPr lang="en-US"/>
              <a:t>Strictly Confidential</a:t>
            </a:r>
          </a:p>
        </p:txBody>
      </p:sp>
      <p:sp>
        <p:nvSpPr>
          <p:cNvPr id="4" name="Slide Number Placeholder 3">
            <a:extLst>
              <a:ext uri="{FF2B5EF4-FFF2-40B4-BE49-F238E27FC236}">
                <a16:creationId xmlns:a16="http://schemas.microsoft.com/office/drawing/2014/main" id="{F30D16CC-1A41-7063-23BE-47782ED071F7}"/>
              </a:ext>
            </a:extLst>
          </p:cNvPr>
          <p:cNvSpPr>
            <a:spLocks noGrp="1"/>
          </p:cNvSpPr>
          <p:nvPr>
            <p:ph type="sldNum" sz="quarter" idx="12"/>
          </p:nvPr>
        </p:nvSpPr>
        <p:spPr/>
        <p:txBody>
          <a:bodyPr/>
          <a:lstStyle/>
          <a:p>
            <a:fld id="{F83D3F8C-D0F2-4C17-A5A8-1A9A6660A6AC}" type="slidenum">
              <a:rPr lang="en-US" smtClean="0"/>
              <a:t>‹#›</a:t>
            </a:fld>
            <a:endParaRPr lang="en-US"/>
          </a:p>
        </p:txBody>
      </p:sp>
      <p:grpSp>
        <p:nvGrpSpPr>
          <p:cNvPr id="5" name="Group 4">
            <a:extLst>
              <a:ext uri="{FF2B5EF4-FFF2-40B4-BE49-F238E27FC236}">
                <a16:creationId xmlns:a16="http://schemas.microsoft.com/office/drawing/2014/main" id="{5DA0B7FE-DD17-2610-EA93-F5C4D92C6D7F}"/>
              </a:ext>
            </a:extLst>
          </p:cNvPr>
          <p:cNvGrpSpPr/>
          <p:nvPr userDrawn="1"/>
        </p:nvGrpSpPr>
        <p:grpSpPr>
          <a:xfrm>
            <a:off x="11171583" y="6356350"/>
            <a:ext cx="854766" cy="394646"/>
            <a:chOff x="4395648" y="1321405"/>
            <a:chExt cx="4427527" cy="2043885"/>
          </a:xfrm>
        </p:grpSpPr>
        <p:pic>
          <p:nvPicPr>
            <p:cNvPr id="6" name="Bilde 12" descr="Et bilde som inneholder Font, Grafikk, logo, tekst&#10;&#10;Automatisk generert beskrivelse">
              <a:extLst>
                <a:ext uri="{FF2B5EF4-FFF2-40B4-BE49-F238E27FC236}">
                  <a16:creationId xmlns:a16="http://schemas.microsoft.com/office/drawing/2014/main" id="{A65804DB-CE84-B30C-81D9-0D499EA882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78307" y="1867787"/>
              <a:ext cx="2944868" cy="1497503"/>
            </a:xfrm>
            <a:prstGeom prst="rect">
              <a:avLst/>
            </a:prstGeom>
          </p:spPr>
        </p:pic>
        <p:pic>
          <p:nvPicPr>
            <p:cNvPr id="7" name="Picture 6">
              <a:extLst>
                <a:ext uri="{FF2B5EF4-FFF2-40B4-BE49-F238E27FC236}">
                  <a16:creationId xmlns:a16="http://schemas.microsoft.com/office/drawing/2014/main" id="{2A6B0F26-D95B-85D6-A541-8C239A83CC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95648" y="1321405"/>
              <a:ext cx="1464059" cy="1427245"/>
            </a:xfrm>
            <a:prstGeom prst="rect">
              <a:avLst/>
            </a:prstGeom>
          </p:spPr>
        </p:pic>
      </p:grpSp>
    </p:spTree>
    <p:extLst>
      <p:ext uri="{BB962C8B-B14F-4D97-AF65-F5344CB8AC3E}">
        <p14:creationId xmlns:p14="http://schemas.microsoft.com/office/powerpoint/2010/main" val="35321443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ekstside ute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9185CEE-4652-1443-95CC-75A836E54275}"/>
              </a:ext>
            </a:extLst>
          </p:cNvPr>
          <p:cNvSpPr>
            <a:spLocks noGrp="1"/>
          </p:cNvSpPr>
          <p:nvPr>
            <p:ph type="ctrTitle"/>
          </p:nvPr>
        </p:nvSpPr>
        <p:spPr>
          <a:xfrm>
            <a:off x="684000" y="568589"/>
            <a:ext cx="10633288" cy="900000"/>
          </a:xfrm>
        </p:spPr>
        <p:txBody>
          <a:bodyPr anchor="b">
            <a:normAutofit/>
          </a:bodyPr>
          <a:lstStyle>
            <a:lvl1pPr algn="l" latinLnBrk="1" hangingPunct="1">
              <a:defRPr sz="3000" b="1" i="0">
                <a:latin typeface="Arial" panose="020B0604020202020204" pitchFamily="34" charset="0"/>
                <a:cs typeface="Arial" panose="020B0604020202020204" pitchFamily="34" charset="0"/>
              </a:defRPr>
            </a:lvl1pPr>
          </a:lstStyle>
          <a:p>
            <a:r>
              <a:rPr lang="nb-NO"/>
              <a:t>Klikk for å redigere tittelstil</a:t>
            </a:r>
          </a:p>
        </p:txBody>
      </p:sp>
      <p:sp>
        <p:nvSpPr>
          <p:cNvPr id="8" name="Undertittel 2">
            <a:extLst>
              <a:ext uri="{FF2B5EF4-FFF2-40B4-BE49-F238E27FC236}">
                <a16:creationId xmlns:a16="http://schemas.microsoft.com/office/drawing/2014/main" id="{7837A886-A906-0642-8D0B-3E1A25A35D1B}"/>
              </a:ext>
            </a:extLst>
          </p:cNvPr>
          <p:cNvSpPr>
            <a:spLocks noGrp="1"/>
          </p:cNvSpPr>
          <p:nvPr>
            <p:ph type="subTitle" idx="1"/>
          </p:nvPr>
        </p:nvSpPr>
        <p:spPr>
          <a:xfrm>
            <a:off x="684000" y="1620000"/>
            <a:ext cx="10633288" cy="4680000"/>
          </a:xfrm>
        </p:spPr>
        <p:txBody>
          <a:bodyPr>
            <a:normAutofit/>
          </a:bodyPr>
          <a:lstStyle>
            <a:lvl1pPr marL="0" indent="0" algn="l">
              <a:lnSpc>
                <a:spcPct val="110000"/>
              </a:lnSpc>
              <a:buNone/>
              <a:defRPr lang="nb-NO" sz="160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7" name="Bilde 16">
            <a:extLst>
              <a:ext uri="{FF2B5EF4-FFF2-40B4-BE49-F238E27FC236}">
                <a16:creationId xmlns:a16="http://schemas.microsoft.com/office/drawing/2014/main" id="{EECD1347-535F-FC44-A32B-F09518C536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55905" y="6220901"/>
            <a:ext cx="327650" cy="404744"/>
          </a:xfrm>
          <a:prstGeom prst="rect">
            <a:avLst/>
          </a:prstGeom>
        </p:spPr>
      </p:pic>
      <p:sp>
        <p:nvSpPr>
          <p:cNvPr id="9" name="Plassholder for dato 3">
            <a:extLst>
              <a:ext uri="{FF2B5EF4-FFF2-40B4-BE49-F238E27FC236}">
                <a16:creationId xmlns:a16="http://schemas.microsoft.com/office/drawing/2014/main" id="{15423DA1-0A3E-CB42-AE0A-ECB1392780B5}"/>
              </a:ext>
            </a:extLst>
          </p:cNvPr>
          <p:cNvSpPr>
            <a:spLocks noGrp="1"/>
          </p:cNvSpPr>
          <p:nvPr>
            <p:ph type="dt" sz="half" idx="2"/>
          </p:nvPr>
        </p:nvSpPr>
        <p:spPr>
          <a:xfrm>
            <a:off x="8269844" y="6476279"/>
            <a:ext cx="792000" cy="144000"/>
          </a:xfrm>
          <a:prstGeom prst="rect">
            <a:avLst/>
          </a:prstGeom>
        </p:spPr>
        <p:txBody>
          <a:bodyPr vert="horz" lIns="91440" tIns="45720" rIns="91440" bIns="45720" rtlCol="0" anchor="ctr"/>
          <a:lstStyle>
            <a:lvl1pPr algn="r">
              <a:defRPr sz="9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BCDC0-DFF7-4F61-8BC4-BE9A8228B299}" type="datetime1">
              <a:rPr kumimoji="0" lang="nb-NO" sz="900" b="0" i="0" u="none" strike="noStrike" kern="1200" cap="none" spc="0" normalizeH="0" baseline="0" noProof="0" smtClean="0">
                <a:ln>
                  <a:noFill/>
                </a:ln>
                <a:solidFill>
                  <a:srgbClr val="1C2C3C">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1.2026</a:t>
            </a:fld>
            <a:endParaRPr kumimoji="0" lang="nb-NO" sz="900" b="0" i="0" u="none" strike="noStrike" kern="1200" cap="none" spc="0" normalizeH="0" baseline="0" noProof="0">
              <a:ln>
                <a:noFill/>
              </a:ln>
              <a:solidFill>
                <a:srgbClr val="1C2C3C">
                  <a:tint val="75000"/>
                </a:srgbClr>
              </a:solidFill>
              <a:effectLst/>
              <a:uLnTx/>
              <a:uFillTx/>
              <a:latin typeface="Arial" panose="020B0604020202020204"/>
              <a:ea typeface="+mn-ea"/>
              <a:cs typeface="+mn-cs"/>
            </a:endParaRPr>
          </a:p>
        </p:txBody>
      </p:sp>
      <p:sp>
        <p:nvSpPr>
          <p:cNvPr id="10" name="Plassholder for lysbildenummer 5">
            <a:extLst>
              <a:ext uri="{FF2B5EF4-FFF2-40B4-BE49-F238E27FC236}">
                <a16:creationId xmlns:a16="http://schemas.microsoft.com/office/drawing/2014/main" id="{2F96841B-901B-5048-B606-E6B37955063F}"/>
              </a:ext>
            </a:extLst>
          </p:cNvPr>
          <p:cNvSpPr>
            <a:spLocks noGrp="1"/>
          </p:cNvSpPr>
          <p:nvPr>
            <p:ph type="sldNum" sz="quarter" idx="4"/>
          </p:nvPr>
        </p:nvSpPr>
        <p:spPr>
          <a:xfrm>
            <a:off x="678788" y="6410325"/>
            <a:ext cx="381876" cy="282574"/>
          </a:xfrm>
          <a:prstGeom prst="rect">
            <a:avLst/>
          </a:prstGeom>
        </p:spPr>
        <p:txBody>
          <a:bodyPr vert="horz" lIns="91440" tIns="45720" rIns="91440" bIns="45720" rtlCol="0" anchor="ctr"/>
          <a:lstStyle>
            <a:lvl1pPr algn="l">
              <a:defRPr sz="9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8569BB6-9340-5843-86A4-839CB8A7DD90}" type="slidenum">
              <a:rPr kumimoji="0" lang="nb-NO" sz="900" b="0" i="0" u="none" strike="noStrike" kern="1200" cap="none" spc="0" normalizeH="0" baseline="0" noProof="0" smtClean="0">
                <a:ln>
                  <a:noFill/>
                </a:ln>
                <a:solidFill>
                  <a:srgbClr val="1C2C3C">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nb-NO" sz="900" b="0" i="0" u="none" strike="noStrike" kern="1200" cap="none" spc="0" normalizeH="0" baseline="0" noProof="0">
              <a:ln>
                <a:noFill/>
              </a:ln>
              <a:solidFill>
                <a:srgbClr val="1C2C3C">
                  <a:tint val="75000"/>
                </a:srgbClr>
              </a:solidFill>
              <a:effectLst/>
              <a:uLnTx/>
              <a:uFillTx/>
              <a:latin typeface="Arial" panose="020B0604020202020204"/>
              <a:ea typeface="+mn-ea"/>
              <a:cs typeface="+mn-cs"/>
            </a:endParaRPr>
          </a:p>
        </p:txBody>
      </p:sp>
      <p:sp>
        <p:nvSpPr>
          <p:cNvPr id="12" name="Text Placeholder 3"/>
          <p:cNvSpPr>
            <a:spLocks noGrp="1"/>
          </p:cNvSpPr>
          <p:nvPr>
            <p:ph type="body" sz="quarter" idx="10" hasCustomPrompt="1"/>
          </p:nvPr>
        </p:nvSpPr>
        <p:spPr>
          <a:xfrm>
            <a:off x="1189005" y="6410325"/>
            <a:ext cx="6942221" cy="282575"/>
          </a:xfrm>
        </p:spPr>
        <p:txBody>
          <a:bodyPr vert="horz" lIns="91440" tIns="45720" rIns="91440" bIns="45720" rtlCol="0" anchor="ctr">
            <a:noAutofit/>
          </a:bodyPr>
          <a:lstStyle>
            <a:lvl1pPr marL="0" indent="0">
              <a:buNone/>
              <a:defRPr lang="en-US" sz="900" smtClean="0">
                <a:solidFill>
                  <a:schemeClr val="tx1">
                    <a:tint val="75000"/>
                  </a:schemeClr>
                </a:solidFill>
              </a:defRPr>
            </a:lvl1pPr>
            <a:lvl2pPr>
              <a:defRPr lang="en-US" sz="1800" smtClean="0"/>
            </a:lvl2pPr>
            <a:lvl3pPr>
              <a:defRPr lang="en-US" sz="1800" smtClean="0"/>
            </a:lvl3pPr>
            <a:lvl4pPr>
              <a:defRPr lang="en-US" sz="1800" smtClean="0"/>
            </a:lvl4pPr>
            <a:lvl5pPr>
              <a:defRPr lang="en-US" sz="1800"/>
            </a:lvl5pPr>
          </a:lstStyle>
          <a:p>
            <a:pPr marL="0" lvl="0"/>
            <a:r>
              <a:rPr lang="en-US"/>
              <a:t>Source:</a:t>
            </a:r>
            <a:br>
              <a:rPr lang="en-US"/>
            </a:br>
            <a:r>
              <a:rPr lang="en-US"/>
              <a:t>Note:</a:t>
            </a:r>
          </a:p>
        </p:txBody>
      </p:sp>
    </p:spTree>
    <p:extLst>
      <p:ext uri="{BB962C8B-B14F-4D97-AF65-F5344CB8AC3E}">
        <p14:creationId xmlns:p14="http://schemas.microsoft.com/office/powerpoint/2010/main" val="3793980152"/>
      </p:ext>
    </p:extLst>
  </p:cSld>
  <p:clrMapOvr>
    <a:masterClrMapping/>
  </p:clrMapOvr>
  <p:extLst>
    <p:ext uri="{DCECCB84-F9BA-43D5-87BE-67443E8EF086}">
      <p15:sldGuideLst xmlns:p15="http://schemas.microsoft.com/office/powerpoint/2012/main">
        <p15:guide id="2">
          <p15:clr>
            <a:srgbClr val="FBAE40"/>
          </p15:clr>
        </p15:guide>
        <p15:guide id="3" pos="712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3B85A9-162D-4334-84EE-CBB133AFAD08}"/>
              </a:ext>
            </a:extLst>
          </p:cNvPr>
          <p:cNvGraphicFramePr>
            <a:graphicFrameLocks noChangeAspect="1"/>
          </p:cNvGraphicFramePr>
          <p:nvPr userDrawn="1">
            <p:custDataLst>
              <p:tags r:id="rId1"/>
            </p:custDataLst>
            <p:extLst>
              <p:ext uri="{D42A27DB-BD31-4B8C-83A1-F6EECF244321}">
                <p14:modId xmlns:p14="http://schemas.microsoft.com/office/powerpoint/2010/main" val="77350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703B85A9-162D-4334-84EE-CBB133AFAD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2">
            <a:extLst>
              <a:ext uri="{FF2B5EF4-FFF2-40B4-BE49-F238E27FC236}">
                <a16:creationId xmlns:a16="http://schemas.microsoft.com/office/drawing/2014/main" id="{90F3B480-B84C-494C-AFA7-08AD93D7899E}"/>
              </a:ext>
            </a:extLst>
          </p:cNvPr>
          <p:cNvSpPr/>
          <p:nvPr userDrawn="1"/>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chemeClr val="tx1"/>
          </a:solidFill>
        </p:spPr>
        <p:txBody>
          <a:bodyPr wrap="square" lIns="0" tIns="0" rIns="0" bIns="0" rtlCol="0"/>
          <a:lstStyle/>
          <a:p>
            <a:endParaRPr/>
          </a:p>
        </p:txBody>
      </p:sp>
      <p:sp>
        <p:nvSpPr>
          <p:cNvPr id="12" name="object 5">
            <a:extLst>
              <a:ext uri="{FF2B5EF4-FFF2-40B4-BE49-F238E27FC236}">
                <a16:creationId xmlns:a16="http://schemas.microsoft.com/office/drawing/2014/main" id="{336431FE-174A-4D2F-A92F-1D0AA5E4ABFB}"/>
              </a:ext>
            </a:extLst>
          </p:cNvPr>
          <p:cNvSpPr/>
          <p:nvPr userDrawn="1"/>
        </p:nvSpPr>
        <p:spPr>
          <a:xfrm>
            <a:off x="9462380" y="2731408"/>
            <a:ext cx="1360171" cy="2076450"/>
          </a:xfrm>
          <a:custGeom>
            <a:avLst/>
            <a:gdLst/>
            <a:ahLst/>
            <a:cxnLst/>
            <a:rect l="l" t="t"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p:spPr>
        <p:txBody>
          <a:bodyPr wrap="square" lIns="0" tIns="0" rIns="0" bIns="0" rtlCol="0"/>
          <a:lstStyle/>
          <a:p>
            <a:endParaRPr/>
          </a:p>
        </p:txBody>
      </p:sp>
      <p:sp>
        <p:nvSpPr>
          <p:cNvPr id="13" name="object 6">
            <a:extLst>
              <a:ext uri="{FF2B5EF4-FFF2-40B4-BE49-F238E27FC236}">
                <a16:creationId xmlns:a16="http://schemas.microsoft.com/office/drawing/2014/main" id="{7EC14487-1B26-45A1-A4A0-A3686E74DEA1}"/>
              </a:ext>
            </a:extLst>
          </p:cNvPr>
          <p:cNvSpPr/>
          <p:nvPr userDrawn="1"/>
        </p:nvSpPr>
        <p:spPr>
          <a:xfrm>
            <a:off x="10822476" y="2731409"/>
            <a:ext cx="1360171" cy="2076450"/>
          </a:xfrm>
          <a:custGeom>
            <a:avLst/>
            <a:gdLst/>
            <a:ahLst/>
            <a:cxnLst/>
            <a:rect l="l" t="t"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p:spPr>
        <p:txBody>
          <a:bodyPr wrap="square" lIns="0" tIns="0" rIns="0" bIns="0" rtlCol="0"/>
          <a:lstStyle/>
          <a:p>
            <a:endParaRPr/>
          </a:p>
        </p:txBody>
      </p:sp>
      <p:sp>
        <p:nvSpPr>
          <p:cNvPr id="14" name="object 7">
            <a:extLst>
              <a:ext uri="{FF2B5EF4-FFF2-40B4-BE49-F238E27FC236}">
                <a16:creationId xmlns:a16="http://schemas.microsoft.com/office/drawing/2014/main" id="{83BE97B9-6E1F-429B-BC98-416FAB58DFB6}"/>
              </a:ext>
            </a:extLst>
          </p:cNvPr>
          <p:cNvSpPr/>
          <p:nvPr userDrawn="1"/>
        </p:nvSpPr>
        <p:spPr>
          <a:xfrm>
            <a:off x="8107035" y="659402"/>
            <a:ext cx="4076066" cy="6220460"/>
          </a:xfrm>
          <a:custGeom>
            <a:avLst/>
            <a:gdLst/>
            <a:ahLst/>
            <a:cxnLst/>
            <a:rect l="l" t="t"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p:spPr>
        <p:txBody>
          <a:bodyPr wrap="square" lIns="0" tIns="0" rIns="0" bIns="0" rtlCol="0"/>
          <a:lstStyle/>
          <a:p>
            <a:endParaRPr/>
          </a:p>
        </p:txBody>
      </p:sp>
      <p:sp>
        <p:nvSpPr>
          <p:cNvPr id="2" name="Title 1">
            <a:extLst>
              <a:ext uri="{FF2B5EF4-FFF2-40B4-BE49-F238E27FC236}">
                <a16:creationId xmlns:a16="http://schemas.microsoft.com/office/drawing/2014/main" id="{76744531-7BFC-4284-8450-AF589B4A7023}"/>
              </a:ext>
            </a:extLst>
          </p:cNvPr>
          <p:cNvSpPr>
            <a:spLocks noGrp="1"/>
          </p:cNvSpPr>
          <p:nvPr>
            <p:ph type="ctrTitle"/>
          </p:nvPr>
        </p:nvSpPr>
        <p:spPr>
          <a:xfrm>
            <a:off x="596348" y="2731408"/>
            <a:ext cx="9144000" cy="590931"/>
          </a:xfrm>
        </p:spPr>
        <p:txBody>
          <a:bodyPr vert="horz" anchor="b"/>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91D739E-3F73-4C3E-8D5C-2C47E332CDEF}"/>
              </a:ext>
            </a:extLst>
          </p:cNvPr>
          <p:cNvSpPr>
            <a:spLocks noGrp="1"/>
          </p:cNvSpPr>
          <p:nvPr>
            <p:ph type="subTitle" idx="1"/>
          </p:nvPr>
        </p:nvSpPr>
        <p:spPr>
          <a:xfrm>
            <a:off x="596348" y="3414411"/>
            <a:ext cx="9144000" cy="400110"/>
          </a:xfrm>
        </p:spPr>
        <p:txBody>
          <a:bodyPr/>
          <a:lstStyle>
            <a:lvl1pPr marL="0" indent="0" algn="l">
              <a:buNone/>
              <a:defRPr sz="2000">
                <a:solidFill>
                  <a:schemeClr val="bg1"/>
                </a:solidFill>
              </a:defRPr>
            </a:lvl1pPr>
            <a:lvl2pPr marL="457216" indent="0" algn="ctr">
              <a:buNone/>
              <a:defRPr sz="2000"/>
            </a:lvl2pPr>
            <a:lvl3pPr marL="914433" indent="0" algn="ctr">
              <a:buNone/>
              <a:defRPr sz="1801"/>
            </a:lvl3pPr>
            <a:lvl4pPr marL="1371653" indent="0" algn="ctr">
              <a:buNone/>
              <a:defRPr sz="1600"/>
            </a:lvl4pPr>
            <a:lvl5pPr marL="1828869" indent="0" algn="ctr">
              <a:buNone/>
              <a:defRPr sz="1600"/>
            </a:lvl5pPr>
            <a:lvl6pPr marL="2286085" indent="0" algn="ctr">
              <a:buNone/>
              <a:defRPr sz="1600"/>
            </a:lvl6pPr>
            <a:lvl7pPr marL="2743302" indent="0" algn="ctr">
              <a:buNone/>
              <a:defRPr sz="1600"/>
            </a:lvl7pPr>
            <a:lvl8pPr marL="3200522" indent="0" algn="ctr">
              <a:buNone/>
              <a:defRPr sz="1600"/>
            </a:lvl8pPr>
            <a:lvl9pPr marL="3657738" indent="0" algn="ctr">
              <a:buNone/>
              <a:defRPr sz="1600"/>
            </a:lvl9pPr>
          </a:lstStyle>
          <a:p>
            <a:r>
              <a:rPr lang="en-US"/>
              <a:t>Click to edit Master subtitle style</a:t>
            </a:r>
          </a:p>
        </p:txBody>
      </p:sp>
      <p:sp>
        <p:nvSpPr>
          <p:cNvPr id="18" name="object 3">
            <a:extLst>
              <a:ext uri="{FF2B5EF4-FFF2-40B4-BE49-F238E27FC236}">
                <a16:creationId xmlns:a16="http://schemas.microsoft.com/office/drawing/2014/main" id="{42BD8603-BAD5-4ECB-A654-B89FAB3DD284}"/>
              </a:ext>
            </a:extLst>
          </p:cNvPr>
          <p:cNvSpPr/>
          <p:nvPr userDrawn="1"/>
        </p:nvSpPr>
        <p:spPr>
          <a:xfrm>
            <a:off x="684277" y="698703"/>
            <a:ext cx="1791335" cy="675640"/>
          </a:xfrm>
          <a:custGeom>
            <a:avLst/>
            <a:gdLst/>
            <a:ahLst/>
            <a:cxnLst/>
            <a:rect l="l" t="t" r="r" b="b"/>
            <a:pathLst>
              <a:path w="1791335" h="675640">
                <a:moveTo>
                  <a:pt x="136543" y="664122"/>
                </a:moveTo>
                <a:lnTo>
                  <a:pt x="0" y="664122"/>
                </a:lnTo>
                <a:lnTo>
                  <a:pt x="0" y="0"/>
                </a:lnTo>
                <a:lnTo>
                  <a:pt x="136543" y="0"/>
                </a:lnTo>
                <a:lnTo>
                  <a:pt x="136543" y="664122"/>
                </a:lnTo>
                <a:close/>
              </a:path>
              <a:path w="1791335" h="675640">
                <a:moveTo>
                  <a:pt x="293232" y="664122"/>
                </a:moveTo>
                <a:lnTo>
                  <a:pt x="136543" y="664122"/>
                </a:lnTo>
                <a:lnTo>
                  <a:pt x="268609" y="433804"/>
                </a:lnTo>
                <a:lnTo>
                  <a:pt x="136543" y="203485"/>
                </a:lnTo>
                <a:lnTo>
                  <a:pt x="293232" y="203485"/>
                </a:lnTo>
                <a:lnTo>
                  <a:pt x="427537" y="433804"/>
                </a:lnTo>
                <a:lnTo>
                  <a:pt x="293232" y="664122"/>
                </a:lnTo>
                <a:close/>
              </a:path>
              <a:path w="1791335" h="675640">
                <a:moveTo>
                  <a:pt x="1340810" y="664122"/>
                </a:moveTo>
                <a:lnTo>
                  <a:pt x="1204266" y="664122"/>
                </a:lnTo>
                <a:lnTo>
                  <a:pt x="1204266" y="0"/>
                </a:lnTo>
                <a:lnTo>
                  <a:pt x="1340810" y="0"/>
                </a:lnTo>
                <a:lnTo>
                  <a:pt x="1340810" y="664122"/>
                </a:lnTo>
                <a:close/>
              </a:path>
              <a:path w="1791335" h="675640">
                <a:moveTo>
                  <a:pt x="1631804" y="664122"/>
                </a:moveTo>
                <a:lnTo>
                  <a:pt x="1472876" y="664122"/>
                </a:lnTo>
                <a:lnTo>
                  <a:pt x="1340810" y="433804"/>
                </a:lnTo>
                <a:lnTo>
                  <a:pt x="1472876" y="203485"/>
                </a:lnTo>
                <a:lnTo>
                  <a:pt x="1631804" y="203485"/>
                </a:lnTo>
                <a:lnTo>
                  <a:pt x="1497499" y="433804"/>
                </a:lnTo>
                <a:lnTo>
                  <a:pt x="1631804" y="664122"/>
                </a:lnTo>
                <a:close/>
              </a:path>
              <a:path w="1791335" h="675640">
                <a:moveTo>
                  <a:pt x="617802" y="675303"/>
                </a:moveTo>
                <a:lnTo>
                  <a:pt x="567220" y="669588"/>
                </a:lnTo>
                <a:lnTo>
                  <a:pt x="528763" y="652693"/>
                </a:lnTo>
                <a:lnTo>
                  <a:pt x="501125" y="624991"/>
                </a:lnTo>
                <a:lnTo>
                  <a:pt x="483000" y="586853"/>
                </a:lnTo>
                <a:lnTo>
                  <a:pt x="473082" y="538652"/>
                </a:lnTo>
                <a:lnTo>
                  <a:pt x="470067" y="480762"/>
                </a:lnTo>
                <a:lnTo>
                  <a:pt x="470067" y="203485"/>
                </a:lnTo>
                <a:lnTo>
                  <a:pt x="602133" y="203485"/>
                </a:lnTo>
                <a:lnTo>
                  <a:pt x="602181" y="447220"/>
                </a:lnTo>
                <a:lnTo>
                  <a:pt x="603147" y="492152"/>
                </a:lnTo>
                <a:lnTo>
                  <a:pt x="610247" y="530515"/>
                </a:lnTo>
                <a:lnTo>
                  <a:pt x="629519" y="556300"/>
                </a:lnTo>
                <a:lnTo>
                  <a:pt x="667047" y="565734"/>
                </a:lnTo>
                <a:lnTo>
                  <a:pt x="875220" y="565734"/>
                </a:lnTo>
                <a:lnTo>
                  <a:pt x="875220" y="599275"/>
                </a:lnTo>
                <a:lnTo>
                  <a:pt x="743153" y="599275"/>
                </a:lnTo>
                <a:lnTo>
                  <a:pt x="721363" y="630965"/>
                </a:lnTo>
                <a:lnTo>
                  <a:pt x="694747" y="654899"/>
                </a:lnTo>
                <a:lnTo>
                  <a:pt x="660996" y="670027"/>
                </a:lnTo>
                <a:lnTo>
                  <a:pt x="617802" y="675303"/>
                </a:lnTo>
                <a:close/>
              </a:path>
              <a:path w="1791335" h="675640">
                <a:moveTo>
                  <a:pt x="875220" y="565734"/>
                </a:moveTo>
                <a:lnTo>
                  <a:pt x="667047" y="565734"/>
                </a:lnTo>
                <a:lnTo>
                  <a:pt x="702547" y="559165"/>
                </a:lnTo>
                <a:lnTo>
                  <a:pt x="726085" y="538342"/>
                </a:lnTo>
                <a:lnTo>
                  <a:pt x="739131" y="501586"/>
                </a:lnTo>
                <a:lnTo>
                  <a:pt x="743153" y="447220"/>
                </a:lnTo>
                <a:lnTo>
                  <a:pt x="743153" y="203485"/>
                </a:lnTo>
                <a:lnTo>
                  <a:pt x="875220" y="203485"/>
                </a:lnTo>
                <a:lnTo>
                  <a:pt x="875220" y="565734"/>
                </a:lnTo>
                <a:close/>
              </a:path>
              <a:path w="1791335" h="675640">
                <a:moveTo>
                  <a:pt x="875220" y="664122"/>
                </a:moveTo>
                <a:lnTo>
                  <a:pt x="743153" y="664122"/>
                </a:lnTo>
                <a:lnTo>
                  <a:pt x="743153" y="599275"/>
                </a:lnTo>
                <a:lnTo>
                  <a:pt x="875220" y="599275"/>
                </a:lnTo>
                <a:lnTo>
                  <a:pt x="875220" y="664122"/>
                </a:lnTo>
                <a:close/>
              </a:path>
              <a:path w="1791335" h="675640">
                <a:moveTo>
                  <a:pt x="1143829" y="664122"/>
                </a:moveTo>
                <a:lnTo>
                  <a:pt x="1103538" y="664122"/>
                </a:lnTo>
                <a:lnTo>
                  <a:pt x="1047148" y="660938"/>
                </a:lnTo>
                <a:lnTo>
                  <a:pt x="1005907" y="649382"/>
                </a:lnTo>
                <a:lnTo>
                  <a:pt x="978312" y="626449"/>
                </a:lnTo>
                <a:lnTo>
                  <a:pt x="962858" y="589132"/>
                </a:lnTo>
                <a:lnTo>
                  <a:pt x="958041" y="534428"/>
                </a:lnTo>
                <a:lnTo>
                  <a:pt x="958041" y="0"/>
                </a:lnTo>
                <a:lnTo>
                  <a:pt x="1094584" y="0"/>
                </a:lnTo>
                <a:lnTo>
                  <a:pt x="1094584" y="500887"/>
                </a:lnTo>
                <a:lnTo>
                  <a:pt x="1092346" y="500887"/>
                </a:lnTo>
                <a:lnTo>
                  <a:pt x="1095039" y="525903"/>
                </a:lnTo>
                <a:lnTo>
                  <a:pt x="1103818" y="541696"/>
                </a:lnTo>
                <a:lnTo>
                  <a:pt x="1119731" y="549941"/>
                </a:lnTo>
                <a:lnTo>
                  <a:pt x="1143829" y="552317"/>
                </a:lnTo>
                <a:lnTo>
                  <a:pt x="1143829" y="664122"/>
                </a:lnTo>
                <a:close/>
              </a:path>
              <a:path w="1791335" h="675640">
                <a:moveTo>
                  <a:pt x="1734771" y="212429"/>
                </a:moveTo>
                <a:lnTo>
                  <a:pt x="1698956" y="212429"/>
                </a:lnTo>
                <a:lnTo>
                  <a:pt x="1698956" y="203485"/>
                </a:lnTo>
                <a:lnTo>
                  <a:pt x="1734771" y="203485"/>
                </a:lnTo>
                <a:lnTo>
                  <a:pt x="1734771" y="212429"/>
                </a:lnTo>
                <a:close/>
              </a:path>
              <a:path w="1791335" h="675640">
                <a:moveTo>
                  <a:pt x="1721340" y="245971"/>
                </a:moveTo>
                <a:lnTo>
                  <a:pt x="1712386" y="245971"/>
                </a:lnTo>
                <a:lnTo>
                  <a:pt x="1712386" y="212429"/>
                </a:lnTo>
                <a:lnTo>
                  <a:pt x="1721340" y="212429"/>
                </a:lnTo>
                <a:lnTo>
                  <a:pt x="1721340" y="245971"/>
                </a:lnTo>
                <a:close/>
              </a:path>
              <a:path w="1791335" h="675640">
                <a:moveTo>
                  <a:pt x="1752678" y="245971"/>
                </a:moveTo>
                <a:lnTo>
                  <a:pt x="1741486" y="245971"/>
                </a:lnTo>
                <a:lnTo>
                  <a:pt x="1741486" y="203485"/>
                </a:lnTo>
                <a:lnTo>
                  <a:pt x="1757155" y="203485"/>
                </a:lnTo>
                <a:lnTo>
                  <a:pt x="1761287" y="216902"/>
                </a:lnTo>
                <a:lnTo>
                  <a:pt x="1752678" y="216902"/>
                </a:lnTo>
                <a:lnTo>
                  <a:pt x="1752678" y="245971"/>
                </a:lnTo>
                <a:close/>
              </a:path>
              <a:path w="1791335" h="675640">
                <a:moveTo>
                  <a:pt x="1774718" y="232554"/>
                </a:moveTo>
                <a:lnTo>
                  <a:pt x="1766108" y="232554"/>
                </a:lnTo>
                <a:lnTo>
                  <a:pt x="1775062" y="203485"/>
                </a:lnTo>
                <a:lnTo>
                  <a:pt x="1790731" y="203485"/>
                </a:lnTo>
                <a:lnTo>
                  <a:pt x="1790731" y="216902"/>
                </a:lnTo>
                <a:lnTo>
                  <a:pt x="1779539" y="216902"/>
                </a:lnTo>
                <a:lnTo>
                  <a:pt x="1774718" y="232554"/>
                </a:lnTo>
                <a:close/>
              </a:path>
              <a:path w="1791335" h="675640">
                <a:moveTo>
                  <a:pt x="1770585" y="245971"/>
                </a:moveTo>
                <a:lnTo>
                  <a:pt x="1761632" y="245971"/>
                </a:lnTo>
                <a:lnTo>
                  <a:pt x="1752678" y="216902"/>
                </a:lnTo>
                <a:lnTo>
                  <a:pt x="1761287" y="216902"/>
                </a:lnTo>
                <a:lnTo>
                  <a:pt x="1766108" y="232554"/>
                </a:lnTo>
                <a:lnTo>
                  <a:pt x="1774718" y="232554"/>
                </a:lnTo>
                <a:lnTo>
                  <a:pt x="1770585" y="245971"/>
                </a:lnTo>
                <a:close/>
              </a:path>
              <a:path w="1791335" h="675640">
                <a:moveTo>
                  <a:pt x="1790731" y="245971"/>
                </a:moveTo>
                <a:lnTo>
                  <a:pt x="1779539" y="245971"/>
                </a:lnTo>
                <a:lnTo>
                  <a:pt x="1779539" y="216902"/>
                </a:lnTo>
                <a:lnTo>
                  <a:pt x="1790731" y="216902"/>
                </a:lnTo>
                <a:lnTo>
                  <a:pt x="1790731" y="245971"/>
                </a:lnTo>
                <a:close/>
              </a:path>
            </a:pathLst>
          </a:custGeom>
          <a:solidFill>
            <a:srgbClr val="FFFFFF"/>
          </a:solidFill>
        </p:spPr>
        <p:txBody>
          <a:bodyPr wrap="square" lIns="0" tIns="0" rIns="0" bIns="0" rtlCol="0"/>
          <a:lstStyle/>
          <a:p>
            <a:endParaRPr/>
          </a:p>
        </p:txBody>
      </p:sp>
    </p:spTree>
    <p:extLst>
      <p:ext uri="{BB962C8B-B14F-4D97-AF65-F5344CB8AC3E}">
        <p14:creationId xmlns:p14="http://schemas.microsoft.com/office/powerpoint/2010/main" val="17884020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9D8E27-6D07-41EA-BD3D-327B731E7555}"/>
              </a:ext>
            </a:extLst>
          </p:cNvPr>
          <p:cNvGraphicFramePr>
            <a:graphicFrameLocks noChangeAspect="1"/>
          </p:cNvGraphicFramePr>
          <p:nvPr userDrawn="1">
            <p:custDataLst>
              <p:tags r:id="rId1"/>
            </p:custDataLst>
            <p:extLst>
              <p:ext uri="{D42A27DB-BD31-4B8C-83A1-F6EECF244321}">
                <p14:modId xmlns:p14="http://schemas.microsoft.com/office/powerpoint/2010/main" val="378972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829D8E27-6D07-41EA-BD3D-327B731E75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D21E5011-75DA-419F-B196-CFE15910EFC8}"/>
              </a:ext>
            </a:extLst>
          </p:cNvPr>
          <p:cNvSpPr>
            <a:spLocks noGrp="1"/>
          </p:cNvSpPr>
          <p:nvPr>
            <p:ph idx="1" hasCustomPrompt="1"/>
          </p:nvPr>
        </p:nvSpPr>
        <p:spPr/>
        <p:txBody>
          <a:bodyPr/>
          <a:lstStyle/>
          <a:p>
            <a:r>
              <a:rPr lang="en-US"/>
              <a:t>Text level 1</a:t>
            </a:r>
          </a:p>
          <a:p>
            <a:pPr lvl="1"/>
            <a:r>
              <a:rPr lang="en-US"/>
              <a:t>Tab to move down to next level</a:t>
            </a:r>
          </a:p>
          <a:p>
            <a:pPr lvl="2"/>
            <a:r>
              <a:rPr lang="en-US"/>
              <a:t>Shift-tab to move up to next level</a:t>
            </a:r>
          </a:p>
          <a:p>
            <a:pPr lvl="3"/>
            <a:r>
              <a:rPr lang="en-US"/>
              <a:t>Para spacing is 8pt by default</a:t>
            </a:r>
          </a:p>
          <a:p>
            <a:pPr lvl="4"/>
            <a:r>
              <a:rPr lang="en-US"/>
              <a:t>Change spacing if change type size from 16pt used here as default</a:t>
            </a:r>
          </a:p>
        </p:txBody>
      </p:sp>
      <p:sp>
        <p:nvSpPr>
          <p:cNvPr id="11" name="Title 10">
            <a:extLst>
              <a:ext uri="{FF2B5EF4-FFF2-40B4-BE49-F238E27FC236}">
                <a16:creationId xmlns:a16="http://schemas.microsoft.com/office/drawing/2014/main" id="{5E7A37E2-EAEE-44EE-9C61-79445A558FF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37386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0D298DD-9F74-4CCF-925B-8B17AEDE71FC}"/>
              </a:ext>
            </a:extLst>
          </p:cNvPr>
          <p:cNvGraphicFramePr>
            <a:graphicFrameLocks noChangeAspect="1"/>
          </p:cNvGraphicFramePr>
          <p:nvPr userDrawn="1">
            <p:custDataLst>
              <p:tags r:id="rId1"/>
            </p:custDataLst>
            <p:extLst>
              <p:ext uri="{D42A27DB-BD31-4B8C-83A1-F6EECF244321}">
                <p14:modId xmlns:p14="http://schemas.microsoft.com/office/powerpoint/2010/main" val="333765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00D298DD-9F74-4CCF-925B-8B17AEDE71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object 2">
            <a:extLst>
              <a:ext uri="{FF2B5EF4-FFF2-40B4-BE49-F238E27FC236}">
                <a16:creationId xmlns:a16="http://schemas.microsoft.com/office/drawing/2014/main" id="{358D238B-4336-4CA5-A5E8-5893F6EB2072}"/>
              </a:ext>
            </a:extLst>
          </p:cNvPr>
          <p:cNvSpPr/>
          <p:nvPr userDrawn="1"/>
        </p:nvSpPr>
        <p:spPr>
          <a:xfrm>
            <a:off x="0" y="0"/>
            <a:ext cx="12192000" cy="6345238"/>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chemeClr val="accent2"/>
          </a:solidFill>
        </p:spPr>
        <p:txBody>
          <a:bodyPr wrap="square" lIns="0" tIns="0" rIns="0" bIns="0" rtlCol="0"/>
          <a:lstStyle/>
          <a:p>
            <a:endParaRPr/>
          </a:p>
        </p:txBody>
      </p:sp>
      <p:sp>
        <p:nvSpPr>
          <p:cNvPr id="4" name="Date Placeholder 3">
            <a:extLst>
              <a:ext uri="{FF2B5EF4-FFF2-40B4-BE49-F238E27FC236}">
                <a16:creationId xmlns:a16="http://schemas.microsoft.com/office/drawing/2014/main" id="{3974AB40-BB34-416E-95DE-C0B89F260F5E}"/>
              </a:ext>
            </a:extLst>
          </p:cNvPr>
          <p:cNvSpPr>
            <a:spLocks noGrp="1"/>
          </p:cNvSpPr>
          <p:nvPr>
            <p:ph type="dt" sz="half" idx="10"/>
          </p:nvPr>
        </p:nvSpPr>
        <p:spPr>
          <a:xfrm>
            <a:off x="8603973" y="6542763"/>
            <a:ext cx="2743200" cy="230832"/>
          </a:xfrm>
          <a:prstGeom prst="rect">
            <a:avLst/>
          </a:prstGeom>
        </p:spPr>
        <p:txBody>
          <a:bodyPr/>
          <a:lstStyle/>
          <a:p>
            <a:fld id="{738DE407-B8AB-4DE9-AE0C-D2D1B494ADA7}" type="datetime1">
              <a:rPr lang="en-US" smtClean="0"/>
              <a:t>1/18/26</a:t>
            </a:fld>
            <a:endParaRPr lang="en-US"/>
          </a:p>
        </p:txBody>
      </p:sp>
      <p:sp>
        <p:nvSpPr>
          <p:cNvPr id="5" name="Footer Placeholder 4">
            <a:extLst>
              <a:ext uri="{FF2B5EF4-FFF2-40B4-BE49-F238E27FC236}">
                <a16:creationId xmlns:a16="http://schemas.microsoft.com/office/drawing/2014/main" id="{30F7C5D3-F267-4D25-9261-A3F86C059912}"/>
              </a:ext>
            </a:extLst>
          </p:cNvPr>
          <p:cNvSpPr>
            <a:spLocks noGrp="1"/>
          </p:cNvSpPr>
          <p:nvPr>
            <p:ph type="ftr" sz="quarter" idx="11"/>
          </p:nvPr>
        </p:nvSpPr>
        <p:spPr/>
        <p:txBody>
          <a:bodyPr/>
          <a:lstStyle/>
          <a:p>
            <a:pPr algn="l"/>
            <a:r>
              <a:rPr lang="en-US"/>
              <a:t>Document title or footer - add in master layout</a:t>
            </a:r>
          </a:p>
        </p:txBody>
      </p:sp>
      <p:sp>
        <p:nvSpPr>
          <p:cNvPr id="6" name="Slide Number Placeholder 5">
            <a:extLst>
              <a:ext uri="{FF2B5EF4-FFF2-40B4-BE49-F238E27FC236}">
                <a16:creationId xmlns:a16="http://schemas.microsoft.com/office/drawing/2014/main" id="{608A35B7-1C66-48AF-A45F-AE034CC957B8}"/>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sp>
        <p:nvSpPr>
          <p:cNvPr id="3" name="Title 2">
            <a:extLst>
              <a:ext uri="{FF2B5EF4-FFF2-40B4-BE49-F238E27FC236}">
                <a16:creationId xmlns:a16="http://schemas.microsoft.com/office/drawing/2014/main" id="{883D8D0D-DE15-41C4-BDE8-E0011F50EDC5}"/>
              </a:ext>
            </a:extLst>
          </p:cNvPr>
          <p:cNvSpPr>
            <a:spLocks noGrp="1"/>
          </p:cNvSpPr>
          <p:nvPr>
            <p:ph type="title" hasCustomPrompt="1"/>
          </p:nvPr>
        </p:nvSpPr>
        <p:spPr/>
        <p:txBody>
          <a:bodyPr vert="horz"/>
          <a:lstStyle>
            <a:lvl1pPr>
              <a:defRPr>
                <a:solidFill>
                  <a:schemeClr val="bg1"/>
                </a:solidFill>
              </a:defRPr>
            </a:lvl1pPr>
          </a:lstStyle>
          <a:p>
            <a:r>
              <a:rPr lang="en-US"/>
              <a:t>Agenda / contents</a:t>
            </a:r>
          </a:p>
        </p:txBody>
      </p:sp>
      <p:sp>
        <p:nvSpPr>
          <p:cNvPr id="13" name="TextBox 12">
            <a:extLst>
              <a:ext uri="{FF2B5EF4-FFF2-40B4-BE49-F238E27FC236}">
                <a16:creationId xmlns:a16="http://schemas.microsoft.com/office/drawing/2014/main" id="{ABB4020E-FF79-4E9A-83FA-26C3DC8D9C51}"/>
              </a:ext>
            </a:extLst>
          </p:cNvPr>
          <p:cNvSpPr txBox="1"/>
          <p:nvPr userDrawn="1"/>
        </p:nvSpPr>
        <p:spPr>
          <a:xfrm>
            <a:off x="5897220" y="1720091"/>
            <a:ext cx="5599458" cy="400110"/>
          </a:xfrm>
          <a:prstGeom prst="rect">
            <a:avLst/>
          </a:prstGeom>
          <a:noFill/>
        </p:spPr>
        <p:txBody>
          <a:bodyPr wrap="square" rtlCol="0">
            <a:spAutoFit/>
          </a:bodyPr>
          <a:lstStyle/>
          <a:p>
            <a:pPr marL="357201" indent="-357201" algn="l"/>
            <a:r>
              <a:rPr lang="en-US" sz="2000" b="1">
                <a:solidFill>
                  <a:schemeClr val="bg1"/>
                </a:solidFill>
              </a:rPr>
              <a:t>1.	Section title</a:t>
            </a:r>
          </a:p>
        </p:txBody>
      </p:sp>
      <p:grpSp>
        <p:nvGrpSpPr>
          <p:cNvPr id="10" name="object 2">
            <a:extLst>
              <a:ext uri="{FF2B5EF4-FFF2-40B4-BE49-F238E27FC236}">
                <a16:creationId xmlns:a16="http://schemas.microsoft.com/office/drawing/2014/main" id="{0E0B79F8-4837-49B4-87DB-6A4C772EBC28}"/>
              </a:ext>
            </a:extLst>
          </p:cNvPr>
          <p:cNvGrpSpPr/>
          <p:nvPr userDrawn="1"/>
        </p:nvGrpSpPr>
        <p:grpSpPr>
          <a:xfrm>
            <a:off x="11002427" y="0"/>
            <a:ext cx="1163956" cy="1342390"/>
            <a:chOff x="11002424" y="0"/>
            <a:chExt cx="1163955" cy="1342390"/>
          </a:xfrm>
        </p:grpSpPr>
        <p:sp>
          <p:nvSpPr>
            <p:cNvPr id="11" name="object 3">
              <a:extLst>
                <a:ext uri="{FF2B5EF4-FFF2-40B4-BE49-F238E27FC236}">
                  <a16:creationId xmlns:a16="http://schemas.microsoft.com/office/drawing/2014/main" id="{ED6461F7-37BA-4112-9F62-4F00A248F0B8}"/>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2" name="object 4">
              <a:extLst>
                <a:ext uri="{FF2B5EF4-FFF2-40B4-BE49-F238E27FC236}">
                  <a16:creationId xmlns:a16="http://schemas.microsoft.com/office/drawing/2014/main" id="{B45CA18A-FB8E-4FAC-97C1-5EE234E655EF}"/>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8878523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0D298DD-9F74-4CCF-925B-8B17AEDE71FC}"/>
              </a:ext>
            </a:extLst>
          </p:cNvPr>
          <p:cNvGraphicFramePr>
            <a:graphicFrameLocks noChangeAspect="1"/>
          </p:cNvGraphicFramePr>
          <p:nvPr userDrawn="1">
            <p:custDataLst>
              <p:tags r:id="rId1"/>
            </p:custDataLst>
            <p:extLst>
              <p:ext uri="{D42A27DB-BD31-4B8C-83A1-F6EECF244321}">
                <p14:modId xmlns:p14="http://schemas.microsoft.com/office/powerpoint/2010/main" val="3485384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00D298DD-9F74-4CCF-925B-8B17AEDE71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object 2">
            <a:extLst>
              <a:ext uri="{FF2B5EF4-FFF2-40B4-BE49-F238E27FC236}">
                <a16:creationId xmlns:a16="http://schemas.microsoft.com/office/drawing/2014/main" id="{358D238B-4336-4CA5-A5E8-5893F6EB2072}"/>
              </a:ext>
            </a:extLst>
          </p:cNvPr>
          <p:cNvSpPr/>
          <p:nvPr userDrawn="1"/>
        </p:nvSpPr>
        <p:spPr>
          <a:xfrm>
            <a:off x="0" y="0"/>
            <a:ext cx="12192000" cy="6345238"/>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14151033-3B7F-4CB3-B690-5AD5B4A9953B}"/>
              </a:ext>
            </a:extLst>
          </p:cNvPr>
          <p:cNvSpPr>
            <a:spLocks noGrp="1"/>
          </p:cNvSpPr>
          <p:nvPr>
            <p:ph type="title" hasCustomPrompt="1"/>
          </p:nvPr>
        </p:nvSpPr>
        <p:spPr>
          <a:xfrm>
            <a:off x="593311" y="4035779"/>
            <a:ext cx="10515600" cy="535531"/>
          </a:xfrm>
        </p:spPr>
        <p:txBody>
          <a:bodyPr vert="horz" anchor="b"/>
          <a:lstStyle>
            <a:lvl1pPr>
              <a:defRPr sz="3200">
                <a:solidFill>
                  <a:schemeClr val="bg1"/>
                </a:solidFill>
              </a:defRPr>
            </a:lvl1pPr>
          </a:lstStyle>
          <a:p>
            <a:r>
              <a:rPr lang="en-US"/>
              <a:t>Divider / section title</a:t>
            </a:r>
          </a:p>
        </p:txBody>
      </p:sp>
      <p:sp>
        <p:nvSpPr>
          <p:cNvPr id="4" name="Date Placeholder 3">
            <a:extLst>
              <a:ext uri="{FF2B5EF4-FFF2-40B4-BE49-F238E27FC236}">
                <a16:creationId xmlns:a16="http://schemas.microsoft.com/office/drawing/2014/main" id="{3974AB40-BB34-416E-95DE-C0B89F260F5E}"/>
              </a:ext>
            </a:extLst>
          </p:cNvPr>
          <p:cNvSpPr>
            <a:spLocks noGrp="1"/>
          </p:cNvSpPr>
          <p:nvPr>
            <p:ph type="dt" sz="half" idx="10"/>
          </p:nvPr>
        </p:nvSpPr>
        <p:spPr>
          <a:xfrm>
            <a:off x="8603973" y="6542763"/>
            <a:ext cx="2743200" cy="230832"/>
          </a:xfrm>
          <a:prstGeom prst="rect">
            <a:avLst/>
          </a:prstGeom>
        </p:spPr>
        <p:txBody>
          <a:bodyPr/>
          <a:lstStyle/>
          <a:p>
            <a:fld id="{738DE407-B8AB-4DE9-AE0C-D2D1B494ADA7}" type="datetime1">
              <a:rPr lang="en-US" smtClean="0"/>
              <a:t>1/18/26</a:t>
            </a:fld>
            <a:endParaRPr lang="en-US"/>
          </a:p>
        </p:txBody>
      </p:sp>
      <p:sp>
        <p:nvSpPr>
          <p:cNvPr id="5" name="Footer Placeholder 4">
            <a:extLst>
              <a:ext uri="{FF2B5EF4-FFF2-40B4-BE49-F238E27FC236}">
                <a16:creationId xmlns:a16="http://schemas.microsoft.com/office/drawing/2014/main" id="{30F7C5D3-F267-4D25-9261-A3F86C059912}"/>
              </a:ext>
            </a:extLst>
          </p:cNvPr>
          <p:cNvSpPr>
            <a:spLocks noGrp="1"/>
          </p:cNvSpPr>
          <p:nvPr>
            <p:ph type="ftr" sz="quarter" idx="11"/>
          </p:nvPr>
        </p:nvSpPr>
        <p:spPr/>
        <p:txBody>
          <a:bodyPr/>
          <a:lstStyle/>
          <a:p>
            <a:pPr algn="l"/>
            <a:r>
              <a:rPr lang="en-US"/>
              <a:t>Document title or footer - add in master layout</a:t>
            </a:r>
          </a:p>
        </p:txBody>
      </p:sp>
      <p:sp>
        <p:nvSpPr>
          <p:cNvPr id="6" name="Slide Number Placeholder 5">
            <a:extLst>
              <a:ext uri="{FF2B5EF4-FFF2-40B4-BE49-F238E27FC236}">
                <a16:creationId xmlns:a16="http://schemas.microsoft.com/office/drawing/2014/main" id="{608A35B7-1C66-48AF-A45F-AE034CC957B8}"/>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grpSp>
        <p:nvGrpSpPr>
          <p:cNvPr id="10" name="object 2">
            <a:extLst>
              <a:ext uri="{FF2B5EF4-FFF2-40B4-BE49-F238E27FC236}">
                <a16:creationId xmlns:a16="http://schemas.microsoft.com/office/drawing/2014/main" id="{0180B93B-F48F-4603-A2F1-B6D5C183E5C8}"/>
              </a:ext>
            </a:extLst>
          </p:cNvPr>
          <p:cNvGrpSpPr/>
          <p:nvPr userDrawn="1"/>
        </p:nvGrpSpPr>
        <p:grpSpPr>
          <a:xfrm>
            <a:off x="11002427" y="0"/>
            <a:ext cx="1163956" cy="1342390"/>
            <a:chOff x="11002424" y="0"/>
            <a:chExt cx="1163955" cy="1342390"/>
          </a:xfrm>
        </p:grpSpPr>
        <p:sp>
          <p:nvSpPr>
            <p:cNvPr id="11" name="object 3">
              <a:extLst>
                <a:ext uri="{FF2B5EF4-FFF2-40B4-BE49-F238E27FC236}">
                  <a16:creationId xmlns:a16="http://schemas.microsoft.com/office/drawing/2014/main" id="{77ED16B6-6125-458B-97D6-D57367A5316F}"/>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2" name="object 4">
              <a:extLst>
                <a:ext uri="{FF2B5EF4-FFF2-40B4-BE49-F238E27FC236}">
                  <a16:creationId xmlns:a16="http://schemas.microsoft.com/office/drawing/2014/main" id="{862D692C-9EEB-4D31-8702-E3B6BEFC793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360015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344039EA-FE63-FAC0-F64C-32F365047E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344039EA-FE63-FAC0-F64C-32F365047E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B2495A66-0971-A1A7-E3C2-3447F453BEF5}"/>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0A567417-FD2B-10E2-89E6-7CDFAE037053}"/>
              </a:ext>
            </a:extLst>
          </p:cNvPr>
          <p:cNvSpPr>
            <a:spLocks/>
          </p:cNvSpPr>
          <p:nvPr/>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86623DB8-C18C-DFB8-C43E-03CCE2ECEAA3}"/>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B713B5C8-4086-11E9-C842-5CE8426CED22}"/>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1F76BEE7-4D88-988C-4014-AB0139F0E70F}"/>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94E0F9B7-1700-0F93-4D33-7F1A87EB4F9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1B56EE33-BC5B-BEB8-3E89-43CD6D96912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1B56EE33-BC5B-BEB8-3E89-43CD6D9691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2" name="Date Placeholder 2">
            <a:extLst>
              <a:ext uri="{FF2B5EF4-FFF2-40B4-BE49-F238E27FC236}">
                <a16:creationId xmlns:a16="http://schemas.microsoft.com/office/drawing/2014/main" id="{0FB91E40-E532-03C9-EA85-6D1B20489AE9}"/>
              </a:ext>
            </a:extLst>
          </p:cNvPr>
          <p:cNvSpPr>
            <a:spLocks noGrp="1"/>
          </p:cNvSpPr>
          <p:nvPr>
            <p:ph type="dt" sz="half" idx="10"/>
          </p:nvPr>
        </p:nvSpPr>
        <p:spPr/>
        <p:txBody>
          <a:bodyPr/>
          <a:lstStyle>
            <a:lvl1pPr>
              <a:defRPr/>
            </a:lvl1pPr>
          </a:lstStyle>
          <a:p>
            <a:pPr>
              <a:defRPr/>
            </a:pPr>
            <a:fld id="{DA9B3574-C79A-4936-AF75-18CD0E4415F8}" type="datetime1">
              <a:rPr lang="en-US"/>
              <a:pPr>
                <a:defRPr/>
              </a:pPr>
              <a:t>1/18/26</a:t>
            </a:fld>
            <a:endParaRPr lang="en-US"/>
          </a:p>
        </p:txBody>
      </p:sp>
      <p:sp>
        <p:nvSpPr>
          <p:cNvPr id="14" name="Slide Number Placeholder 4">
            <a:extLst>
              <a:ext uri="{FF2B5EF4-FFF2-40B4-BE49-F238E27FC236}">
                <a16:creationId xmlns:a16="http://schemas.microsoft.com/office/drawing/2014/main" id="{8DF0AE4E-0705-39F5-391F-436B04258E61}"/>
              </a:ext>
            </a:extLst>
          </p:cNvPr>
          <p:cNvSpPr>
            <a:spLocks noGrp="1"/>
          </p:cNvSpPr>
          <p:nvPr>
            <p:ph type="sldNum" sz="quarter" idx="12"/>
          </p:nvPr>
        </p:nvSpPr>
        <p:spPr/>
        <p:txBody>
          <a:bodyPr/>
          <a:lstStyle>
            <a:lvl1pPr>
              <a:defRPr/>
            </a:lvl1pPr>
          </a:lstStyle>
          <a:p>
            <a:pPr>
              <a:defRPr/>
            </a:pPr>
            <a:fld id="{32203F8C-E527-4284-BDBD-1576F2B85DD2}" type="slidenum">
              <a:rPr lang="en-US"/>
              <a:pPr>
                <a:defRPr/>
              </a:pPr>
              <a:t>‹#›</a:t>
            </a:fld>
            <a:endParaRPr lang="en-US"/>
          </a:p>
        </p:txBody>
      </p:sp>
      <p:sp>
        <p:nvSpPr>
          <p:cNvPr id="7" name="Plassholder for bunntekst 1">
            <a:extLst>
              <a:ext uri="{FF2B5EF4-FFF2-40B4-BE49-F238E27FC236}">
                <a16:creationId xmlns:a16="http://schemas.microsoft.com/office/drawing/2014/main" id="{738B0E64-64DA-85B7-00F0-8146CA7CAA3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558051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2 Col Tex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068621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0" y="1825627"/>
            <a:ext cx="5181600"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912B23-7FC3-4F95-9742-529F61ED1263}"/>
              </a:ext>
            </a:extLst>
          </p:cNvPr>
          <p:cNvSpPr>
            <a:spLocks noGrp="1"/>
          </p:cNvSpPr>
          <p:nvPr>
            <p:ph sz="half" idx="2"/>
          </p:nvPr>
        </p:nvSpPr>
        <p:spPr>
          <a:xfrm>
            <a:off x="6315076" y="1825627"/>
            <a:ext cx="5181600"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3" y="6542763"/>
            <a:ext cx="2743200" cy="230832"/>
          </a:xfrm>
          <a:prstGeom prst="rect">
            <a:avLst/>
          </a:prstGeom>
        </p:spPr>
        <p:txBody>
          <a:bodyPr/>
          <a:lstStyle/>
          <a:p>
            <a:fld id="{65740C71-DFFB-4A9D-8D76-37A2AFEA71A5}"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4"/>
            <a:ext cx="7034695" cy="230832"/>
          </a:xfrm>
        </p:spPr>
        <p:txBody>
          <a:bodyPr/>
          <a:lstStyle/>
          <a:p>
            <a:pPr algn="l"/>
            <a:r>
              <a:rPr lang="en-US"/>
              <a:t>Document title or footer - add in master layout</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cxnSp>
        <p:nvCxnSpPr>
          <p:cNvPr id="11" name="Straight Connector 10">
            <a:extLst>
              <a:ext uri="{FF2B5EF4-FFF2-40B4-BE49-F238E27FC236}">
                <a16:creationId xmlns:a16="http://schemas.microsoft.com/office/drawing/2014/main" id="{FB7E5949-A6C3-41FB-9886-31DDC17D032E}"/>
              </a:ext>
            </a:extLst>
          </p:cNvPr>
          <p:cNvCxnSpPr>
            <a:cxnSpLocks/>
          </p:cNvCxnSpPr>
          <p:nvPr userDrawn="1"/>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75284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 Pictur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81149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0" y="1825627"/>
            <a:ext cx="5181600"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3" y="6542763"/>
            <a:ext cx="2743200" cy="230832"/>
          </a:xfrm>
          <a:prstGeom prst="rect">
            <a:avLst/>
          </a:prstGeom>
        </p:spPr>
        <p:txBody>
          <a:bodyPr/>
          <a:lstStyle/>
          <a:p>
            <a:fld id="{65740C71-DFFB-4A9D-8D76-37A2AFEA71A5}"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4"/>
            <a:ext cx="7034695" cy="230832"/>
          </a:xfrm>
        </p:spPr>
        <p:txBody>
          <a:bodyPr/>
          <a:lstStyle/>
          <a:p>
            <a:pPr algn="l"/>
            <a:r>
              <a:rPr lang="en-US"/>
              <a:t>Document title or footer - add in master layout</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cxnSp>
        <p:nvCxnSpPr>
          <p:cNvPr id="19" name="Straight Connector 18">
            <a:extLst>
              <a:ext uri="{FF2B5EF4-FFF2-40B4-BE49-F238E27FC236}">
                <a16:creationId xmlns:a16="http://schemas.microsoft.com/office/drawing/2014/main" id="{47A15CC3-251F-48E6-8674-5DCD16F5740F}"/>
              </a:ext>
            </a:extLst>
          </p:cNvPr>
          <p:cNvCxnSpPr>
            <a:cxnSpLocks/>
          </p:cNvCxnSpPr>
          <p:nvPr userDrawn="1"/>
        </p:nvCxnSpPr>
        <p:spPr>
          <a:xfrm>
            <a:off x="6096000" y="1825625"/>
            <a:ext cx="0" cy="4351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object 25">
            <a:extLst>
              <a:ext uri="{FF2B5EF4-FFF2-40B4-BE49-F238E27FC236}">
                <a16:creationId xmlns:a16="http://schemas.microsoft.com/office/drawing/2014/main" id="{40419381-CDEA-465F-B9BF-DCC6561B3986}"/>
              </a:ext>
            </a:extLst>
          </p:cNvPr>
          <p:cNvSpPr/>
          <p:nvPr userDrawn="1"/>
        </p:nvSpPr>
        <p:spPr>
          <a:xfrm>
            <a:off x="6096000" y="1825625"/>
            <a:ext cx="6096000" cy="4351338"/>
          </a:xfrm>
          <a:prstGeom prst="rect">
            <a:avLst/>
          </a:prstGeom>
          <a:blipFill>
            <a:blip r:embed="rId5" cstate="print"/>
            <a:stretch>
              <a:fillRect l="-16086" r="-41664"/>
            </a:stretch>
          </a:blipFill>
        </p:spPr>
        <p:txBody>
          <a:bodyPr wrap="square" lIns="0" tIns="0" rIns="0" bIns="0" rtlCol="0"/>
          <a:lstStyle/>
          <a:p>
            <a:endParaRPr/>
          </a:p>
        </p:txBody>
      </p:sp>
    </p:spTree>
    <p:extLst>
      <p:ext uri="{BB962C8B-B14F-4D97-AF65-F5344CB8AC3E}">
        <p14:creationId xmlns:p14="http://schemas.microsoft.com/office/powerpoint/2010/main" val="32770808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166861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3ACCC63-C2C7-43B5-A4DD-9491DF3CE4C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12460"/>
          <a:stretch/>
        </p:blipFill>
        <p:spPr>
          <a:xfrm>
            <a:off x="4774836" y="0"/>
            <a:ext cx="7417168" cy="6345238"/>
          </a:xfrm>
          <a:prstGeom prst="rect">
            <a:avLst/>
          </a:prstGeom>
        </p:spPr>
      </p:pic>
      <p:sp>
        <p:nvSpPr>
          <p:cNvPr id="10" name="Rektangel 3">
            <a:extLst>
              <a:ext uri="{FF2B5EF4-FFF2-40B4-BE49-F238E27FC236}">
                <a16:creationId xmlns:a16="http://schemas.microsoft.com/office/drawing/2014/main" id="{F4F55FBE-4312-4EAC-A592-0F99BA61497D}"/>
              </a:ext>
            </a:extLst>
          </p:cNvPr>
          <p:cNvSpPr/>
          <p:nvPr userDrawn="1"/>
        </p:nvSpPr>
        <p:spPr>
          <a:xfrm>
            <a:off x="649675" y="0"/>
            <a:ext cx="7928162" cy="6345238"/>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374" h="6858000">
                <a:moveTo>
                  <a:pt x="0" y="0"/>
                </a:moveTo>
                <a:lnTo>
                  <a:pt x="6348413" y="0"/>
                </a:lnTo>
                <a:lnTo>
                  <a:pt x="8354374" y="3427256"/>
                </a:lnTo>
                <a:lnTo>
                  <a:pt x="6348413"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1" y="592280"/>
            <a:ext cx="6410740"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3" y="1825627"/>
            <a:ext cx="6181036"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3" y="6542763"/>
            <a:ext cx="2743200" cy="230832"/>
          </a:xfrm>
          <a:prstGeom prst="rect">
            <a:avLst/>
          </a:prstGeom>
        </p:spPr>
        <p:txBody>
          <a:bodyPr/>
          <a:lstStyle/>
          <a:p>
            <a:fld id="{65740C71-DFFB-4A9D-8D76-37A2AFEA71A5}"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4"/>
            <a:ext cx="7034695" cy="230832"/>
          </a:xfrm>
        </p:spPr>
        <p:txBody>
          <a:bodyPr/>
          <a:lstStyle/>
          <a:p>
            <a:pPr algn="l"/>
            <a:r>
              <a:rPr lang="en-US"/>
              <a:t>Document title or footer - add in master layout</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grpSp>
        <p:nvGrpSpPr>
          <p:cNvPr id="12" name="object 2">
            <a:extLst>
              <a:ext uri="{FF2B5EF4-FFF2-40B4-BE49-F238E27FC236}">
                <a16:creationId xmlns:a16="http://schemas.microsoft.com/office/drawing/2014/main" id="{D1608395-CE52-4641-926F-F35481788F0E}"/>
              </a:ext>
            </a:extLst>
          </p:cNvPr>
          <p:cNvGrpSpPr/>
          <p:nvPr userDrawn="1"/>
        </p:nvGrpSpPr>
        <p:grpSpPr>
          <a:xfrm>
            <a:off x="11002427" y="0"/>
            <a:ext cx="1163956" cy="1342390"/>
            <a:chOff x="11002424" y="0"/>
            <a:chExt cx="1163955" cy="1342390"/>
          </a:xfrm>
        </p:grpSpPr>
        <p:sp>
          <p:nvSpPr>
            <p:cNvPr id="13" name="object 3">
              <a:extLst>
                <a:ext uri="{FF2B5EF4-FFF2-40B4-BE49-F238E27FC236}">
                  <a16:creationId xmlns:a16="http://schemas.microsoft.com/office/drawing/2014/main" id="{33FC18E0-FB13-4DD5-B130-FF6A92B910CE}"/>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4" name="object 4">
              <a:extLst>
                <a:ext uri="{FF2B5EF4-FFF2-40B4-BE49-F238E27FC236}">
                  <a16:creationId xmlns:a16="http://schemas.microsoft.com/office/drawing/2014/main" id="{9A24B971-7026-42D2-A396-0B3B1260EED9}"/>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21409131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7132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192A0299-D176-4FED-AB9C-9C602FDDE624}"/>
              </a:ext>
            </a:extLst>
          </p:cNvPr>
          <p:cNvPicPr>
            <a:picLocks noChangeAspect="1"/>
          </p:cNvPicPr>
          <p:nvPr userDrawn="1"/>
        </p:nvPicPr>
        <p:blipFill rotWithShape="1">
          <a:blip r:embed="rId5">
            <a:extLst>
              <a:ext uri="{28A0092B-C50C-407E-A947-70E740481C1C}">
                <a14:useLocalDpi xmlns:a14="http://schemas.microsoft.com/office/drawing/2010/main"/>
              </a:ext>
            </a:extLst>
          </a:blip>
          <a:srcRect r="26560"/>
          <a:stretch/>
        </p:blipFill>
        <p:spPr>
          <a:xfrm>
            <a:off x="4238997" y="0"/>
            <a:ext cx="7953003" cy="6345238"/>
          </a:xfrm>
          <a:prstGeom prst="rect">
            <a:avLst/>
          </a:prstGeom>
        </p:spPr>
      </p:pic>
      <p:sp>
        <p:nvSpPr>
          <p:cNvPr id="10" name="Rektangel 3">
            <a:extLst>
              <a:ext uri="{FF2B5EF4-FFF2-40B4-BE49-F238E27FC236}">
                <a16:creationId xmlns:a16="http://schemas.microsoft.com/office/drawing/2014/main" id="{B96D7DA5-7262-4757-804D-45359B7DD73F}"/>
              </a:ext>
            </a:extLst>
          </p:cNvPr>
          <p:cNvSpPr/>
          <p:nvPr userDrawn="1"/>
        </p:nvSpPr>
        <p:spPr>
          <a:xfrm>
            <a:off x="649675" y="0"/>
            <a:ext cx="9805826" cy="6354072"/>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 name="connsiteX0" fmla="*/ 0 w 10090927"/>
              <a:gd name="connsiteY0" fmla="*/ 0 h 6858000"/>
              <a:gd name="connsiteX1" fmla="*/ 6348413 w 10090927"/>
              <a:gd name="connsiteY1" fmla="*/ 0 h 6858000"/>
              <a:gd name="connsiteX2" fmla="*/ 8354374 w 10090927"/>
              <a:gd name="connsiteY2" fmla="*/ 3427256 h 6858000"/>
              <a:gd name="connsiteX3" fmla="*/ 10090927 w 10090927"/>
              <a:gd name="connsiteY3" fmla="*/ 6848451 h 6858000"/>
              <a:gd name="connsiteX4" fmla="*/ 0 w 10090927"/>
              <a:gd name="connsiteY4" fmla="*/ 6858000 h 6858000"/>
              <a:gd name="connsiteX5" fmla="*/ 0 w 10090927"/>
              <a:gd name="connsiteY5" fmla="*/ 0 h 6858000"/>
              <a:gd name="connsiteX0" fmla="*/ 0 w 10332980"/>
              <a:gd name="connsiteY0" fmla="*/ 0 h 6867548"/>
              <a:gd name="connsiteX1" fmla="*/ 6348413 w 10332980"/>
              <a:gd name="connsiteY1" fmla="*/ 0 h 6867548"/>
              <a:gd name="connsiteX2" fmla="*/ 8354374 w 10332980"/>
              <a:gd name="connsiteY2" fmla="*/ 3427256 h 6867548"/>
              <a:gd name="connsiteX3" fmla="*/ 10332980 w 10332980"/>
              <a:gd name="connsiteY3" fmla="*/ 6867548 h 6867548"/>
              <a:gd name="connsiteX4" fmla="*/ 0 w 10332980"/>
              <a:gd name="connsiteY4" fmla="*/ 6858000 h 6867548"/>
              <a:gd name="connsiteX5" fmla="*/ 0 w 10332980"/>
              <a:gd name="connsiteY5" fmla="*/ 0 h 68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2980" h="6867548">
                <a:moveTo>
                  <a:pt x="0" y="0"/>
                </a:moveTo>
                <a:lnTo>
                  <a:pt x="6348413" y="0"/>
                </a:lnTo>
                <a:lnTo>
                  <a:pt x="8354374" y="3427256"/>
                </a:lnTo>
                <a:lnTo>
                  <a:pt x="10332980" y="6867548"/>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5" y="592280"/>
            <a:ext cx="6375401"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1" y="1825627"/>
            <a:ext cx="7170530"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3" y="6542763"/>
            <a:ext cx="2743200" cy="230832"/>
          </a:xfrm>
          <a:prstGeom prst="rect">
            <a:avLst/>
          </a:prstGeom>
        </p:spPr>
        <p:txBody>
          <a:bodyPr/>
          <a:lstStyle/>
          <a:p>
            <a:fld id="{65740C71-DFFB-4A9D-8D76-37A2AFEA71A5}"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4"/>
            <a:ext cx="7034695" cy="230832"/>
          </a:xfrm>
        </p:spPr>
        <p:txBody>
          <a:bodyPr/>
          <a:lstStyle/>
          <a:p>
            <a:pPr algn="l"/>
            <a:r>
              <a:rPr lang="en-US"/>
              <a:t>Document title or footer - add in master layout</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grpSp>
        <p:nvGrpSpPr>
          <p:cNvPr id="11" name="object 2">
            <a:extLst>
              <a:ext uri="{FF2B5EF4-FFF2-40B4-BE49-F238E27FC236}">
                <a16:creationId xmlns:a16="http://schemas.microsoft.com/office/drawing/2014/main" id="{183C9E2D-1474-4AE7-AD39-4F9459B2D15E}"/>
              </a:ext>
            </a:extLst>
          </p:cNvPr>
          <p:cNvGrpSpPr/>
          <p:nvPr userDrawn="1"/>
        </p:nvGrpSpPr>
        <p:grpSpPr>
          <a:xfrm>
            <a:off x="11002427" y="0"/>
            <a:ext cx="1163956" cy="1342390"/>
            <a:chOff x="11002424" y="0"/>
            <a:chExt cx="1163955" cy="1342390"/>
          </a:xfrm>
        </p:grpSpPr>
        <p:sp>
          <p:nvSpPr>
            <p:cNvPr id="12" name="object 3">
              <a:extLst>
                <a:ext uri="{FF2B5EF4-FFF2-40B4-BE49-F238E27FC236}">
                  <a16:creationId xmlns:a16="http://schemas.microsoft.com/office/drawing/2014/main" id="{AD1BC9C4-3658-49C5-8998-44EB8DB189FA}"/>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3" name="object 4">
              <a:extLst>
                <a:ext uri="{FF2B5EF4-FFF2-40B4-BE49-F238E27FC236}">
                  <a16:creationId xmlns:a16="http://schemas.microsoft.com/office/drawing/2014/main" id="{E52CFFB3-BF86-4A21-8593-E83EBA5658A4}"/>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20678300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69011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6">
            <a:extLst>
              <a:ext uri="{FF2B5EF4-FFF2-40B4-BE49-F238E27FC236}">
                <a16:creationId xmlns:a16="http://schemas.microsoft.com/office/drawing/2014/main" id="{A472E7AC-00AE-4497-B5A4-770908522F48}"/>
              </a:ext>
            </a:extLst>
          </p:cNvPr>
          <p:cNvSpPr/>
          <p:nvPr userDrawn="1"/>
        </p:nvSpPr>
        <p:spPr>
          <a:xfrm>
            <a:off x="8772146" y="0"/>
            <a:ext cx="3419854" cy="6345238"/>
          </a:xfrm>
          <a:prstGeom prst="rect">
            <a:avLst/>
          </a:prstGeom>
          <a:blipFill>
            <a:blip r:embed="rId5" cstate="print"/>
            <a:stretch>
              <a:fillRect t="-715"/>
            </a:stretch>
          </a:blipFill>
        </p:spPr>
        <p:txBody>
          <a:bodyPr wrap="square" lIns="0" tIns="0" rIns="0" bIns="0" rtlCol="0"/>
          <a:lstStyle/>
          <a:p>
            <a:endParaRPr/>
          </a:p>
        </p:txBody>
      </p:sp>
      <p:sp>
        <p:nvSpPr>
          <p:cNvPr id="10" name="Rektangel 3">
            <a:extLst>
              <a:ext uri="{FF2B5EF4-FFF2-40B4-BE49-F238E27FC236}">
                <a16:creationId xmlns:a16="http://schemas.microsoft.com/office/drawing/2014/main" id="{F4F55FBE-4312-4EAC-A592-0F99BA61497D}"/>
              </a:ext>
            </a:extLst>
          </p:cNvPr>
          <p:cNvSpPr/>
          <p:nvPr userDrawn="1"/>
        </p:nvSpPr>
        <p:spPr>
          <a:xfrm>
            <a:off x="3419013" y="0"/>
            <a:ext cx="7230578" cy="6345238"/>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4374" h="6858000">
                <a:moveTo>
                  <a:pt x="0" y="0"/>
                </a:moveTo>
                <a:lnTo>
                  <a:pt x="6348413" y="0"/>
                </a:lnTo>
                <a:lnTo>
                  <a:pt x="8354374" y="3427256"/>
                </a:lnTo>
                <a:lnTo>
                  <a:pt x="6348413"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3" y="592280"/>
            <a:ext cx="8605612"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2" y="1825627"/>
            <a:ext cx="8417077"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3" y="6542763"/>
            <a:ext cx="2743200" cy="230832"/>
          </a:xfrm>
          <a:prstGeom prst="rect">
            <a:avLst/>
          </a:prstGeom>
        </p:spPr>
        <p:txBody>
          <a:bodyPr/>
          <a:lstStyle/>
          <a:p>
            <a:fld id="{65740C71-DFFB-4A9D-8D76-37A2AFEA71A5}"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4"/>
            <a:ext cx="7034695" cy="230832"/>
          </a:xfrm>
        </p:spPr>
        <p:txBody>
          <a:bodyPr/>
          <a:lstStyle/>
          <a:p>
            <a:pPr algn="l"/>
            <a:r>
              <a:rPr lang="en-US"/>
              <a:t>Document title or footer - add in master layout</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grpSp>
        <p:nvGrpSpPr>
          <p:cNvPr id="12" name="object 2">
            <a:extLst>
              <a:ext uri="{FF2B5EF4-FFF2-40B4-BE49-F238E27FC236}">
                <a16:creationId xmlns:a16="http://schemas.microsoft.com/office/drawing/2014/main" id="{9B2C40CF-D98D-4B7D-A796-0016DB0A5A86}"/>
              </a:ext>
            </a:extLst>
          </p:cNvPr>
          <p:cNvGrpSpPr/>
          <p:nvPr userDrawn="1"/>
        </p:nvGrpSpPr>
        <p:grpSpPr>
          <a:xfrm>
            <a:off x="11002427" y="0"/>
            <a:ext cx="1163956" cy="1342390"/>
            <a:chOff x="11002424" y="0"/>
            <a:chExt cx="1163955" cy="1342390"/>
          </a:xfrm>
        </p:grpSpPr>
        <p:sp>
          <p:nvSpPr>
            <p:cNvPr id="13" name="object 3">
              <a:extLst>
                <a:ext uri="{FF2B5EF4-FFF2-40B4-BE49-F238E27FC236}">
                  <a16:creationId xmlns:a16="http://schemas.microsoft.com/office/drawing/2014/main" id="{111A2339-632B-4D9D-AFF5-BBC5D857EBCC}"/>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4" name="object 4">
              <a:extLst>
                <a:ext uri="{FF2B5EF4-FFF2-40B4-BE49-F238E27FC236}">
                  <a16:creationId xmlns:a16="http://schemas.microsoft.com/office/drawing/2014/main" id="{6317CBFF-903A-42DA-88B7-89C352A346E8}"/>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19282203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4">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110058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7">
            <a:extLst>
              <a:ext uri="{FF2B5EF4-FFF2-40B4-BE49-F238E27FC236}">
                <a16:creationId xmlns:a16="http://schemas.microsoft.com/office/drawing/2014/main" id="{692A6211-3B69-4CB9-8CDF-ADC2E6B37D55}"/>
              </a:ext>
            </a:extLst>
          </p:cNvPr>
          <p:cNvSpPr/>
          <p:nvPr userDrawn="1"/>
        </p:nvSpPr>
        <p:spPr>
          <a:xfrm>
            <a:off x="6612242" y="0"/>
            <a:ext cx="5571744" cy="6354072"/>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1" name="object 9">
            <a:extLst>
              <a:ext uri="{FF2B5EF4-FFF2-40B4-BE49-F238E27FC236}">
                <a16:creationId xmlns:a16="http://schemas.microsoft.com/office/drawing/2014/main" id="{67034B3B-3A8B-4429-A776-B20E5CB0580A}"/>
              </a:ext>
            </a:extLst>
          </p:cNvPr>
          <p:cNvSpPr/>
          <p:nvPr userDrawn="1"/>
        </p:nvSpPr>
        <p:spPr>
          <a:xfrm>
            <a:off x="6665485" y="1"/>
            <a:ext cx="3595262" cy="4074887"/>
          </a:xfrm>
          <a:custGeom>
            <a:avLst/>
            <a:gdLst>
              <a:gd name="connsiteX0" fmla="*/ 2432486 w 3595263"/>
              <a:gd name="connsiteY0" fmla="*/ 4074887 h 4074887"/>
              <a:gd name="connsiteX1" fmla="*/ 0 w 3595263"/>
              <a:gd name="connsiteY1" fmla="*/ 4 h 4074887"/>
              <a:gd name="connsiteX2" fmla="*/ 2342412 w 3595263"/>
              <a:gd name="connsiteY2" fmla="*/ 0 h 4074887"/>
              <a:gd name="connsiteX3" fmla="*/ 3595263 w 3595263"/>
              <a:gd name="connsiteY3" fmla="*/ 2112990 h 4074887"/>
              <a:gd name="connsiteX4" fmla="*/ 2432486 w 3595263"/>
              <a:gd name="connsiteY4" fmla="*/ 4074887 h 407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263" h="4074887">
                <a:moveTo>
                  <a:pt x="2432486" y="4074887"/>
                </a:moveTo>
                <a:lnTo>
                  <a:pt x="0" y="4"/>
                </a:lnTo>
                <a:lnTo>
                  <a:pt x="2342412" y="0"/>
                </a:lnTo>
                <a:lnTo>
                  <a:pt x="3595263" y="2112990"/>
                </a:lnTo>
                <a:lnTo>
                  <a:pt x="2432486" y="4074887"/>
                </a:lnTo>
                <a:close/>
              </a:path>
            </a:pathLst>
          </a:custGeom>
          <a:solidFill>
            <a:srgbClr val="83DBD5"/>
          </a:solidFill>
        </p:spPr>
        <p:txBody>
          <a:bodyPr wrap="square" lIns="0" tIns="0" rIns="0" bIns="0" rtlCol="0"/>
          <a:lstStyle/>
          <a:p>
            <a:endParaRPr/>
          </a:p>
        </p:txBody>
      </p:sp>
      <p:sp>
        <p:nvSpPr>
          <p:cNvPr id="10" name="Rektangel 3">
            <a:extLst>
              <a:ext uri="{FF2B5EF4-FFF2-40B4-BE49-F238E27FC236}">
                <a16:creationId xmlns:a16="http://schemas.microsoft.com/office/drawing/2014/main" id="{B96D7DA5-7262-4757-804D-45359B7DD73F}"/>
              </a:ext>
            </a:extLst>
          </p:cNvPr>
          <p:cNvSpPr/>
          <p:nvPr userDrawn="1"/>
        </p:nvSpPr>
        <p:spPr>
          <a:xfrm>
            <a:off x="649675" y="0"/>
            <a:ext cx="9805826" cy="6354072"/>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 name="connsiteX0" fmla="*/ 0 w 10090927"/>
              <a:gd name="connsiteY0" fmla="*/ 0 h 6858000"/>
              <a:gd name="connsiteX1" fmla="*/ 6348413 w 10090927"/>
              <a:gd name="connsiteY1" fmla="*/ 0 h 6858000"/>
              <a:gd name="connsiteX2" fmla="*/ 8354374 w 10090927"/>
              <a:gd name="connsiteY2" fmla="*/ 3427256 h 6858000"/>
              <a:gd name="connsiteX3" fmla="*/ 10090927 w 10090927"/>
              <a:gd name="connsiteY3" fmla="*/ 6848451 h 6858000"/>
              <a:gd name="connsiteX4" fmla="*/ 0 w 10090927"/>
              <a:gd name="connsiteY4" fmla="*/ 6858000 h 6858000"/>
              <a:gd name="connsiteX5" fmla="*/ 0 w 10090927"/>
              <a:gd name="connsiteY5" fmla="*/ 0 h 6858000"/>
              <a:gd name="connsiteX0" fmla="*/ 0 w 10332980"/>
              <a:gd name="connsiteY0" fmla="*/ 0 h 6867548"/>
              <a:gd name="connsiteX1" fmla="*/ 6348413 w 10332980"/>
              <a:gd name="connsiteY1" fmla="*/ 0 h 6867548"/>
              <a:gd name="connsiteX2" fmla="*/ 8354374 w 10332980"/>
              <a:gd name="connsiteY2" fmla="*/ 3427256 h 6867548"/>
              <a:gd name="connsiteX3" fmla="*/ 10332980 w 10332980"/>
              <a:gd name="connsiteY3" fmla="*/ 6867548 h 6867548"/>
              <a:gd name="connsiteX4" fmla="*/ 0 w 10332980"/>
              <a:gd name="connsiteY4" fmla="*/ 6858000 h 6867548"/>
              <a:gd name="connsiteX5" fmla="*/ 0 w 10332980"/>
              <a:gd name="connsiteY5" fmla="*/ 0 h 68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2980" h="6867548">
                <a:moveTo>
                  <a:pt x="0" y="0"/>
                </a:moveTo>
                <a:lnTo>
                  <a:pt x="6348413" y="0"/>
                </a:lnTo>
                <a:lnTo>
                  <a:pt x="8354374" y="3427256"/>
                </a:lnTo>
                <a:lnTo>
                  <a:pt x="10332980" y="6867548"/>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599665" y="592280"/>
            <a:ext cx="6375401" cy="535531"/>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599661" y="1825627"/>
            <a:ext cx="7170530"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3" y="6542763"/>
            <a:ext cx="2743200" cy="230832"/>
          </a:xfrm>
          <a:prstGeom prst="rect">
            <a:avLst/>
          </a:prstGeom>
        </p:spPr>
        <p:txBody>
          <a:bodyPr/>
          <a:lstStyle/>
          <a:p>
            <a:fld id="{65740C71-DFFB-4A9D-8D76-37A2AFEA71A5}"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4"/>
            <a:ext cx="7034695" cy="230832"/>
          </a:xfrm>
        </p:spPr>
        <p:txBody>
          <a:bodyPr/>
          <a:lstStyle/>
          <a:p>
            <a:pPr algn="l"/>
            <a:r>
              <a:rPr lang="en-US"/>
              <a:t>Document title or footer - add in master layout</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grpSp>
        <p:nvGrpSpPr>
          <p:cNvPr id="13" name="object 2">
            <a:extLst>
              <a:ext uri="{FF2B5EF4-FFF2-40B4-BE49-F238E27FC236}">
                <a16:creationId xmlns:a16="http://schemas.microsoft.com/office/drawing/2014/main" id="{115CF2FC-6878-48F8-BA93-F5DF431ABC59}"/>
              </a:ext>
            </a:extLst>
          </p:cNvPr>
          <p:cNvGrpSpPr/>
          <p:nvPr userDrawn="1"/>
        </p:nvGrpSpPr>
        <p:grpSpPr>
          <a:xfrm>
            <a:off x="11002427" y="0"/>
            <a:ext cx="1163956" cy="1342390"/>
            <a:chOff x="11002424" y="0"/>
            <a:chExt cx="1163955" cy="1342390"/>
          </a:xfrm>
        </p:grpSpPr>
        <p:sp>
          <p:nvSpPr>
            <p:cNvPr id="14" name="object 3">
              <a:extLst>
                <a:ext uri="{FF2B5EF4-FFF2-40B4-BE49-F238E27FC236}">
                  <a16:creationId xmlns:a16="http://schemas.microsoft.com/office/drawing/2014/main" id="{4C14E5FF-9A48-4390-BAFB-FA45908AB006}"/>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5" name="object 4">
              <a:extLst>
                <a:ext uri="{FF2B5EF4-FFF2-40B4-BE49-F238E27FC236}">
                  <a16:creationId xmlns:a16="http://schemas.microsoft.com/office/drawing/2014/main" id="{573B2125-574C-4492-B472-573DBEBE192E}"/>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10563198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1622E1A-F479-441A-AC9F-EBA99B2ED041}"/>
              </a:ext>
            </a:extLst>
          </p:cNvPr>
          <p:cNvGraphicFramePr>
            <a:graphicFrameLocks noChangeAspect="1"/>
          </p:cNvGraphicFramePr>
          <p:nvPr userDrawn="1">
            <p:custDataLst>
              <p:tags r:id="rId1"/>
            </p:custDataLst>
            <p:extLst>
              <p:ext uri="{D42A27DB-BD31-4B8C-83A1-F6EECF244321}">
                <p14:modId xmlns:p14="http://schemas.microsoft.com/office/powerpoint/2010/main" val="392081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9" name="Object 8" hidden="1">
                        <a:extLst>
                          <a:ext uri="{FF2B5EF4-FFF2-40B4-BE49-F238E27FC236}">
                            <a16:creationId xmlns:a16="http://schemas.microsoft.com/office/drawing/2014/main" id="{71622E1A-F479-441A-AC9F-EBA99B2ED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descr="A picture containing water, outdoor, boat, nature&#10;&#10;Description automatically generated">
            <a:extLst>
              <a:ext uri="{FF2B5EF4-FFF2-40B4-BE49-F238E27FC236}">
                <a16:creationId xmlns:a16="http://schemas.microsoft.com/office/drawing/2014/main" id="{EC527E98-0E28-4BED-9492-6794AFE5484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413"/>
          <a:stretch/>
        </p:blipFill>
        <p:spPr>
          <a:xfrm>
            <a:off x="0" y="0"/>
            <a:ext cx="9831637" cy="6354072"/>
          </a:xfrm>
          <a:prstGeom prst="rect">
            <a:avLst/>
          </a:prstGeom>
        </p:spPr>
      </p:pic>
      <p:sp>
        <p:nvSpPr>
          <p:cNvPr id="10" name="Rektangel 3">
            <a:extLst>
              <a:ext uri="{FF2B5EF4-FFF2-40B4-BE49-F238E27FC236}">
                <a16:creationId xmlns:a16="http://schemas.microsoft.com/office/drawing/2014/main" id="{B96D7DA5-7262-4757-804D-45359B7DD73F}"/>
              </a:ext>
            </a:extLst>
          </p:cNvPr>
          <p:cNvSpPr/>
          <p:nvPr userDrawn="1"/>
        </p:nvSpPr>
        <p:spPr>
          <a:xfrm flipH="1" flipV="1">
            <a:off x="2386175" y="0"/>
            <a:ext cx="9805826" cy="6354072"/>
          </a:xfrm>
          <a:custGeom>
            <a:avLst/>
            <a:gdLst>
              <a:gd name="connsiteX0" fmla="*/ 0 w 6348413"/>
              <a:gd name="connsiteY0" fmla="*/ 0 h 6858000"/>
              <a:gd name="connsiteX1" fmla="*/ 6348413 w 6348413"/>
              <a:gd name="connsiteY1" fmla="*/ 0 h 6858000"/>
              <a:gd name="connsiteX2" fmla="*/ 6348413 w 6348413"/>
              <a:gd name="connsiteY2" fmla="*/ 6858000 h 6858000"/>
              <a:gd name="connsiteX3" fmla="*/ 0 w 6348413"/>
              <a:gd name="connsiteY3" fmla="*/ 6858000 h 6858000"/>
              <a:gd name="connsiteX4" fmla="*/ 0 w 6348413"/>
              <a:gd name="connsiteY4" fmla="*/ 0 h 6858000"/>
              <a:gd name="connsiteX0" fmla="*/ 0 w 6348413"/>
              <a:gd name="connsiteY0" fmla="*/ 0 h 6858000"/>
              <a:gd name="connsiteX1" fmla="*/ 6348413 w 6348413"/>
              <a:gd name="connsiteY1" fmla="*/ 0 h 6858000"/>
              <a:gd name="connsiteX2" fmla="*/ 6337979 w 6348413"/>
              <a:gd name="connsiteY2" fmla="*/ 3413295 h 6858000"/>
              <a:gd name="connsiteX3" fmla="*/ 6348413 w 6348413"/>
              <a:gd name="connsiteY3" fmla="*/ 6858000 h 6858000"/>
              <a:gd name="connsiteX4" fmla="*/ 0 w 6348413"/>
              <a:gd name="connsiteY4" fmla="*/ 6858000 h 6858000"/>
              <a:gd name="connsiteX5" fmla="*/ 0 w 6348413"/>
              <a:gd name="connsiteY5" fmla="*/ 0 h 6858000"/>
              <a:gd name="connsiteX0" fmla="*/ 0 w 6742828"/>
              <a:gd name="connsiteY0" fmla="*/ 0 h 6858000"/>
              <a:gd name="connsiteX1" fmla="*/ 6348413 w 6742828"/>
              <a:gd name="connsiteY1" fmla="*/ 0 h 6858000"/>
              <a:gd name="connsiteX2" fmla="*/ 6742828 w 6742828"/>
              <a:gd name="connsiteY2" fmla="*/ 3427256 h 6858000"/>
              <a:gd name="connsiteX3" fmla="*/ 6348413 w 6742828"/>
              <a:gd name="connsiteY3" fmla="*/ 6858000 h 6858000"/>
              <a:gd name="connsiteX4" fmla="*/ 0 w 6742828"/>
              <a:gd name="connsiteY4" fmla="*/ 6858000 h 6858000"/>
              <a:gd name="connsiteX5" fmla="*/ 0 w 6742828"/>
              <a:gd name="connsiteY5" fmla="*/ 0 h 6858000"/>
              <a:gd name="connsiteX0" fmla="*/ 0 w 8275793"/>
              <a:gd name="connsiteY0" fmla="*/ 0 h 6858000"/>
              <a:gd name="connsiteX1" fmla="*/ 6348413 w 8275793"/>
              <a:gd name="connsiteY1" fmla="*/ 0 h 6858000"/>
              <a:gd name="connsiteX2" fmla="*/ 8275793 w 8275793"/>
              <a:gd name="connsiteY2" fmla="*/ 3481044 h 6858000"/>
              <a:gd name="connsiteX3" fmla="*/ 6348413 w 8275793"/>
              <a:gd name="connsiteY3" fmla="*/ 6858000 h 6858000"/>
              <a:gd name="connsiteX4" fmla="*/ 0 w 8275793"/>
              <a:gd name="connsiteY4" fmla="*/ 6858000 h 6858000"/>
              <a:gd name="connsiteX5" fmla="*/ 0 w 8275793"/>
              <a:gd name="connsiteY5" fmla="*/ 0 h 6858000"/>
              <a:gd name="connsiteX0" fmla="*/ 0 w 8301987"/>
              <a:gd name="connsiteY0" fmla="*/ 0 h 6858000"/>
              <a:gd name="connsiteX1" fmla="*/ 6348413 w 8301987"/>
              <a:gd name="connsiteY1" fmla="*/ 0 h 6858000"/>
              <a:gd name="connsiteX2" fmla="*/ 8301987 w 8301987"/>
              <a:gd name="connsiteY2" fmla="*/ 3373468 h 6858000"/>
              <a:gd name="connsiteX3" fmla="*/ 6348413 w 8301987"/>
              <a:gd name="connsiteY3" fmla="*/ 6858000 h 6858000"/>
              <a:gd name="connsiteX4" fmla="*/ 0 w 8301987"/>
              <a:gd name="connsiteY4" fmla="*/ 6858000 h 6858000"/>
              <a:gd name="connsiteX5" fmla="*/ 0 w 8301987"/>
              <a:gd name="connsiteY5" fmla="*/ 0 h 6858000"/>
              <a:gd name="connsiteX0" fmla="*/ 0 w 8380568"/>
              <a:gd name="connsiteY0" fmla="*/ 0 h 6858000"/>
              <a:gd name="connsiteX1" fmla="*/ 6348413 w 8380568"/>
              <a:gd name="connsiteY1" fmla="*/ 0 h 6858000"/>
              <a:gd name="connsiteX2" fmla="*/ 8380568 w 8380568"/>
              <a:gd name="connsiteY2" fmla="*/ 3481044 h 6858000"/>
              <a:gd name="connsiteX3" fmla="*/ 6348413 w 8380568"/>
              <a:gd name="connsiteY3" fmla="*/ 6858000 h 6858000"/>
              <a:gd name="connsiteX4" fmla="*/ 0 w 8380568"/>
              <a:gd name="connsiteY4" fmla="*/ 6858000 h 6858000"/>
              <a:gd name="connsiteX5" fmla="*/ 0 w 8380568"/>
              <a:gd name="connsiteY5" fmla="*/ 0 h 6858000"/>
              <a:gd name="connsiteX0" fmla="*/ 0 w 8354375"/>
              <a:gd name="connsiteY0" fmla="*/ 0 h 6858000"/>
              <a:gd name="connsiteX1" fmla="*/ 6348413 w 8354375"/>
              <a:gd name="connsiteY1" fmla="*/ 0 h 6858000"/>
              <a:gd name="connsiteX2" fmla="*/ 8354375 w 8354375"/>
              <a:gd name="connsiteY2" fmla="*/ 3373468 h 6858000"/>
              <a:gd name="connsiteX3" fmla="*/ 6348413 w 8354375"/>
              <a:gd name="connsiteY3" fmla="*/ 6858000 h 6858000"/>
              <a:gd name="connsiteX4" fmla="*/ 0 w 8354375"/>
              <a:gd name="connsiteY4" fmla="*/ 6858000 h 6858000"/>
              <a:gd name="connsiteX5" fmla="*/ 0 w 8354375"/>
              <a:gd name="connsiteY5" fmla="*/ 0 h 6858000"/>
              <a:gd name="connsiteX0" fmla="*/ 0 w 8328181"/>
              <a:gd name="connsiteY0" fmla="*/ 0 h 6858000"/>
              <a:gd name="connsiteX1" fmla="*/ 6348413 w 8328181"/>
              <a:gd name="connsiteY1" fmla="*/ 0 h 6858000"/>
              <a:gd name="connsiteX2" fmla="*/ 8328181 w 8328181"/>
              <a:gd name="connsiteY2" fmla="*/ 3454150 h 6858000"/>
              <a:gd name="connsiteX3" fmla="*/ 6348413 w 8328181"/>
              <a:gd name="connsiteY3" fmla="*/ 6858000 h 6858000"/>
              <a:gd name="connsiteX4" fmla="*/ 0 w 8328181"/>
              <a:gd name="connsiteY4" fmla="*/ 6858000 h 6858000"/>
              <a:gd name="connsiteX5" fmla="*/ 0 w 8328181"/>
              <a:gd name="connsiteY5" fmla="*/ 0 h 6858000"/>
              <a:gd name="connsiteX0" fmla="*/ 0 w 8354374"/>
              <a:gd name="connsiteY0" fmla="*/ 0 h 6858000"/>
              <a:gd name="connsiteX1" fmla="*/ 6348413 w 8354374"/>
              <a:gd name="connsiteY1" fmla="*/ 0 h 6858000"/>
              <a:gd name="connsiteX2" fmla="*/ 8354374 w 8354374"/>
              <a:gd name="connsiteY2" fmla="*/ 3427256 h 6858000"/>
              <a:gd name="connsiteX3" fmla="*/ 6348413 w 8354374"/>
              <a:gd name="connsiteY3" fmla="*/ 6858000 h 6858000"/>
              <a:gd name="connsiteX4" fmla="*/ 0 w 8354374"/>
              <a:gd name="connsiteY4" fmla="*/ 6858000 h 6858000"/>
              <a:gd name="connsiteX5" fmla="*/ 0 w 8354374"/>
              <a:gd name="connsiteY5" fmla="*/ 0 h 6858000"/>
              <a:gd name="connsiteX0" fmla="*/ 0 w 10090927"/>
              <a:gd name="connsiteY0" fmla="*/ 0 h 6858000"/>
              <a:gd name="connsiteX1" fmla="*/ 6348413 w 10090927"/>
              <a:gd name="connsiteY1" fmla="*/ 0 h 6858000"/>
              <a:gd name="connsiteX2" fmla="*/ 8354374 w 10090927"/>
              <a:gd name="connsiteY2" fmla="*/ 3427256 h 6858000"/>
              <a:gd name="connsiteX3" fmla="*/ 10090927 w 10090927"/>
              <a:gd name="connsiteY3" fmla="*/ 6848451 h 6858000"/>
              <a:gd name="connsiteX4" fmla="*/ 0 w 10090927"/>
              <a:gd name="connsiteY4" fmla="*/ 6858000 h 6858000"/>
              <a:gd name="connsiteX5" fmla="*/ 0 w 10090927"/>
              <a:gd name="connsiteY5" fmla="*/ 0 h 6858000"/>
              <a:gd name="connsiteX0" fmla="*/ 0 w 10332980"/>
              <a:gd name="connsiteY0" fmla="*/ 0 h 6867548"/>
              <a:gd name="connsiteX1" fmla="*/ 6348413 w 10332980"/>
              <a:gd name="connsiteY1" fmla="*/ 0 h 6867548"/>
              <a:gd name="connsiteX2" fmla="*/ 8354374 w 10332980"/>
              <a:gd name="connsiteY2" fmla="*/ 3427256 h 6867548"/>
              <a:gd name="connsiteX3" fmla="*/ 10332980 w 10332980"/>
              <a:gd name="connsiteY3" fmla="*/ 6867548 h 6867548"/>
              <a:gd name="connsiteX4" fmla="*/ 0 w 10332980"/>
              <a:gd name="connsiteY4" fmla="*/ 6858000 h 6867548"/>
              <a:gd name="connsiteX5" fmla="*/ 0 w 10332980"/>
              <a:gd name="connsiteY5" fmla="*/ 0 h 68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2980" h="6867548">
                <a:moveTo>
                  <a:pt x="0" y="0"/>
                </a:moveTo>
                <a:lnTo>
                  <a:pt x="6348413" y="0"/>
                </a:lnTo>
                <a:lnTo>
                  <a:pt x="8354374" y="3427256"/>
                </a:lnTo>
                <a:lnTo>
                  <a:pt x="10332980" y="6867548"/>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object 9">
            <a:extLst>
              <a:ext uri="{FF2B5EF4-FFF2-40B4-BE49-F238E27FC236}">
                <a16:creationId xmlns:a16="http://schemas.microsoft.com/office/drawing/2014/main" id="{67034B3B-3A8B-4429-A776-B20E5CB0580A}"/>
              </a:ext>
            </a:extLst>
          </p:cNvPr>
          <p:cNvSpPr/>
          <p:nvPr userDrawn="1"/>
        </p:nvSpPr>
        <p:spPr>
          <a:xfrm>
            <a:off x="2360365" y="1"/>
            <a:ext cx="3595262" cy="4074887"/>
          </a:xfrm>
          <a:custGeom>
            <a:avLst/>
            <a:gdLst>
              <a:gd name="connsiteX0" fmla="*/ 2432486 w 3595263"/>
              <a:gd name="connsiteY0" fmla="*/ 4074887 h 4074887"/>
              <a:gd name="connsiteX1" fmla="*/ 0 w 3595263"/>
              <a:gd name="connsiteY1" fmla="*/ 4 h 4074887"/>
              <a:gd name="connsiteX2" fmla="*/ 2342412 w 3595263"/>
              <a:gd name="connsiteY2" fmla="*/ 0 h 4074887"/>
              <a:gd name="connsiteX3" fmla="*/ 3595263 w 3595263"/>
              <a:gd name="connsiteY3" fmla="*/ 2112990 h 4074887"/>
              <a:gd name="connsiteX4" fmla="*/ 2432486 w 3595263"/>
              <a:gd name="connsiteY4" fmla="*/ 4074887 h 407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263" h="4074887">
                <a:moveTo>
                  <a:pt x="2432486" y="4074887"/>
                </a:moveTo>
                <a:lnTo>
                  <a:pt x="0" y="4"/>
                </a:lnTo>
                <a:lnTo>
                  <a:pt x="2342412" y="0"/>
                </a:lnTo>
                <a:lnTo>
                  <a:pt x="3595263" y="2112990"/>
                </a:lnTo>
                <a:lnTo>
                  <a:pt x="2432486" y="4074887"/>
                </a:lnTo>
                <a:close/>
              </a:path>
            </a:pathLst>
          </a:custGeom>
          <a:solidFill>
            <a:srgbClr val="83DBD5"/>
          </a:solidFill>
        </p:spPr>
        <p:txBody>
          <a:bodyPr wrap="square" lIns="0" tIns="0" rIns="0" bIns="0" rtlCol="0"/>
          <a:lstStyle/>
          <a:p>
            <a:endParaRPr/>
          </a:p>
        </p:txBody>
      </p:sp>
      <p:sp>
        <p:nvSpPr>
          <p:cNvPr id="2" name="Title 1">
            <a:extLst>
              <a:ext uri="{FF2B5EF4-FFF2-40B4-BE49-F238E27FC236}">
                <a16:creationId xmlns:a16="http://schemas.microsoft.com/office/drawing/2014/main" id="{A368C826-9F0C-49D4-A839-E8958EAD7C1E}"/>
              </a:ext>
            </a:extLst>
          </p:cNvPr>
          <p:cNvSpPr>
            <a:spLocks noGrp="1"/>
          </p:cNvSpPr>
          <p:nvPr>
            <p:ph type="title"/>
          </p:nvPr>
        </p:nvSpPr>
        <p:spPr>
          <a:xfrm>
            <a:off x="6410740" y="592283"/>
            <a:ext cx="5085936" cy="978729"/>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FD8ACCB6-1B22-48C6-A7C4-0526C46E4F2F}"/>
              </a:ext>
            </a:extLst>
          </p:cNvPr>
          <p:cNvSpPr>
            <a:spLocks noGrp="1"/>
          </p:cNvSpPr>
          <p:nvPr>
            <p:ph sz="half" idx="1"/>
          </p:nvPr>
        </p:nvSpPr>
        <p:spPr>
          <a:xfrm>
            <a:off x="6410740" y="1825627"/>
            <a:ext cx="5085936" cy="1733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1023D-096E-4967-9630-43A63DEDD891}"/>
              </a:ext>
            </a:extLst>
          </p:cNvPr>
          <p:cNvSpPr>
            <a:spLocks noGrp="1"/>
          </p:cNvSpPr>
          <p:nvPr>
            <p:ph type="dt" sz="half" idx="10"/>
          </p:nvPr>
        </p:nvSpPr>
        <p:spPr>
          <a:xfrm>
            <a:off x="8603973" y="6542763"/>
            <a:ext cx="2743200" cy="230832"/>
          </a:xfrm>
          <a:prstGeom prst="rect">
            <a:avLst/>
          </a:prstGeom>
        </p:spPr>
        <p:txBody>
          <a:bodyPr/>
          <a:lstStyle/>
          <a:p>
            <a:fld id="{65740C71-DFFB-4A9D-8D76-37A2AFEA71A5}" type="datetime1">
              <a:rPr lang="en-US" smtClean="0"/>
              <a:t>1/18/26</a:t>
            </a:fld>
            <a:endParaRPr lang="en-US"/>
          </a:p>
        </p:txBody>
      </p:sp>
      <p:sp>
        <p:nvSpPr>
          <p:cNvPr id="6" name="Footer Placeholder 5">
            <a:extLst>
              <a:ext uri="{FF2B5EF4-FFF2-40B4-BE49-F238E27FC236}">
                <a16:creationId xmlns:a16="http://schemas.microsoft.com/office/drawing/2014/main" id="{1C22750D-3EA9-457E-AD90-4CA0CEDDA443}"/>
              </a:ext>
            </a:extLst>
          </p:cNvPr>
          <p:cNvSpPr>
            <a:spLocks noGrp="1"/>
          </p:cNvSpPr>
          <p:nvPr>
            <p:ph type="ftr" sz="quarter" idx="11"/>
          </p:nvPr>
        </p:nvSpPr>
        <p:spPr>
          <a:xfrm>
            <a:off x="1530626" y="6542764"/>
            <a:ext cx="7034695" cy="230832"/>
          </a:xfrm>
        </p:spPr>
        <p:txBody>
          <a:bodyPr/>
          <a:lstStyle/>
          <a:p>
            <a:pPr algn="l"/>
            <a:r>
              <a:rPr lang="en-US"/>
              <a:t>Document title or footer - add in master layout</a:t>
            </a:r>
          </a:p>
        </p:txBody>
      </p:sp>
      <p:sp>
        <p:nvSpPr>
          <p:cNvPr id="7" name="Slide Number Placeholder 6">
            <a:extLst>
              <a:ext uri="{FF2B5EF4-FFF2-40B4-BE49-F238E27FC236}">
                <a16:creationId xmlns:a16="http://schemas.microsoft.com/office/drawing/2014/main" id="{85B2F421-3434-4CBD-AAE4-ECEE3FF075FF}"/>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grpSp>
        <p:nvGrpSpPr>
          <p:cNvPr id="15" name="object 2">
            <a:extLst>
              <a:ext uri="{FF2B5EF4-FFF2-40B4-BE49-F238E27FC236}">
                <a16:creationId xmlns:a16="http://schemas.microsoft.com/office/drawing/2014/main" id="{577D36EE-7AB3-4AC4-AF43-498852CEB7E1}"/>
              </a:ext>
            </a:extLst>
          </p:cNvPr>
          <p:cNvGrpSpPr/>
          <p:nvPr userDrawn="1"/>
        </p:nvGrpSpPr>
        <p:grpSpPr>
          <a:xfrm>
            <a:off x="11002427" y="0"/>
            <a:ext cx="1163956" cy="1342390"/>
            <a:chOff x="11002424" y="0"/>
            <a:chExt cx="1163955" cy="1342390"/>
          </a:xfrm>
        </p:grpSpPr>
        <p:sp>
          <p:nvSpPr>
            <p:cNvPr id="16" name="object 3">
              <a:extLst>
                <a:ext uri="{FF2B5EF4-FFF2-40B4-BE49-F238E27FC236}">
                  <a16:creationId xmlns:a16="http://schemas.microsoft.com/office/drawing/2014/main" id="{FB273F06-E64C-45A6-B40D-84B3E148FA40}"/>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7" name="object 4">
              <a:extLst>
                <a:ext uri="{FF2B5EF4-FFF2-40B4-BE49-F238E27FC236}">
                  <a16:creationId xmlns:a16="http://schemas.microsoft.com/office/drawing/2014/main" id="{41718492-8899-4C55-A145-B35BD2645E47}"/>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0651316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96A04-7D14-4DB2-BFF0-87DADA0F620A}"/>
              </a:ext>
            </a:extLst>
          </p:cNvPr>
          <p:cNvGraphicFramePr>
            <a:graphicFrameLocks noChangeAspect="1"/>
          </p:cNvGraphicFramePr>
          <p:nvPr userDrawn="1">
            <p:custDataLst>
              <p:tags r:id="rId1"/>
            </p:custDataLst>
            <p:extLst>
              <p:ext uri="{D42A27DB-BD31-4B8C-83A1-F6EECF244321}">
                <p14:modId xmlns:p14="http://schemas.microsoft.com/office/powerpoint/2010/main" val="394579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7" name="Object 6" hidden="1">
                        <a:extLst>
                          <a:ext uri="{FF2B5EF4-FFF2-40B4-BE49-F238E27FC236}">
                            <a16:creationId xmlns:a16="http://schemas.microsoft.com/office/drawing/2014/main" id="{5F896A04-7D14-4DB2-BFF0-87DADA0F6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BC6BAC-50DB-4B44-B925-B3398F818623}"/>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D3527A5-58C1-4AF5-B0DD-3B382B532379}"/>
              </a:ext>
            </a:extLst>
          </p:cNvPr>
          <p:cNvSpPr>
            <a:spLocks noGrp="1"/>
          </p:cNvSpPr>
          <p:nvPr>
            <p:ph type="dt" sz="half" idx="10"/>
          </p:nvPr>
        </p:nvSpPr>
        <p:spPr>
          <a:xfrm>
            <a:off x="8603973" y="6542763"/>
            <a:ext cx="2743200" cy="230832"/>
          </a:xfrm>
          <a:prstGeom prst="rect">
            <a:avLst/>
          </a:prstGeom>
        </p:spPr>
        <p:txBody>
          <a:bodyPr/>
          <a:lstStyle/>
          <a:p>
            <a:fld id="{B11AEDCB-75F4-4B79-B802-184B0B48D0D1}" type="datetime1">
              <a:rPr lang="en-US" smtClean="0"/>
              <a:t>1/18/26</a:t>
            </a:fld>
            <a:endParaRPr lang="en-US"/>
          </a:p>
        </p:txBody>
      </p:sp>
      <p:sp>
        <p:nvSpPr>
          <p:cNvPr id="4" name="Footer Placeholder 3">
            <a:extLst>
              <a:ext uri="{FF2B5EF4-FFF2-40B4-BE49-F238E27FC236}">
                <a16:creationId xmlns:a16="http://schemas.microsoft.com/office/drawing/2014/main" id="{443C410D-7FAA-4C2B-B343-2BFFCC1FE49C}"/>
              </a:ext>
            </a:extLst>
          </p:cNvPr>
          <p:cNvSpPr>
            <a:spLocks noGrp="1"/>
          </p:cNvSpPr>
          <p:nvPr>
            <p:ph type="ftr" sz="quarter" idx="11"/>
          </p:nvPr>
        </p:nvSpPr>
        <p:spPr/>
        <p:txBody>
          <a:bodyPr/>
          <a:lstStyle/>
          <a:p>
            <a:pPr algn="l"/>
            <a:r>
              <a:rPr lang="en-US"/>
              <a:t>Document title or footer - add in master layout</a:t>
            </a:r>
          </a:p>
        </p:txBody>
      </p:sp>
      <p:sp>
        <p:nvSpPr>
          <p:cNvPr id="5" name="Slide Number Placeholder 4">
            <a:extLst>
              <a:ext uri="{FF2B5EF4-FFF2-40B4-BE49-F238E27FC236}">
                <a16:creationId xmlns:a16="http://schemas.microsoft.com/office/drawing/2014/main" id="{3686CF31-48B3-4F31-99E2-CB750DC90B48}"/>
              </a:ext>
            </a:extLst>
          </p:cNvPr>
          <p:cNvSpPr>
            <a:spLocks noGrp="1"/>
          </p:cNvSpPr>
          <p:nvPr>
            <p:ph type="sldNum" sz="quarter" idx="12"/>
          </p:nvPr>
        </p:nvSpPr>
        <p:spPr>
          <a:xfrm>
            <a:off x="11418956" y="6542763"/>
            <a:ext cx="367748" cy="230832"/>
          </a:xfrm>
          <a:prstGeom prst="rect">
            <a:avLst/>
          </a:prstGeom>
        </p:spPr>
        <p:txBody>
          <a:bodyPr/>
          <a:lstStyle/>
          <a:p>
            <a:fld id="{50A6C693-FA55-4929-8F02-9C5C1D56A297}" type="slidenum">
              <a:rPr lang="en-US" smtClean="0"/>
              <a:t>‹#›</a:t>
            </a:fld>
            <a:endParaRPr lang="en-US"/>
          </a:p>
        </p:txBody>
      </p:sp>
    </p:spTree>
    <p:extLst>
      <p:ext uri="{BB962C8B-B14F-4D97-AF65-F5344CB8AC3E}">
        <p14:creationId xmlns:p14="http://schemas.microsoft.com/office/powerpoint/2010/main" val="8098084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3B85A9-162D-4334-84EE-CBB133AFAD08}"/>
              </a:ext>
            </a:extLst>
          </p:cNvPr>
          <p:cNvGraphicFramePr>
            <a:graphicFrameLocks noChangeAspect="1"/>
          </p:cNvGraphicFramePr>
          <p:nvPr userDrawn="1">
            <p:custDataLst>
              <p:tags r:id="rId1"/>
            </p:custDataLst>
            <p:extLst>
              <p:ext uri="{D42A27DB-BD31-4B8C-83A1-F6EECF244321}">
                <p14:modId xmlns:p14="http://schemas.microsoft.com/office/powerpoint/2010/main" val="510268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703B85A9-162D-4334-84EE-CBB133AFAD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2">
            <a:extLst>
              <a:ext uri="{FF2B5EF4-FFF2-40B4-BE49-F238E27FC236}">
                <a16:creationId xmlns:a16="http://schemas.microsoft.com/office/drawing/2014/main" id="{90F3B480-B84C-494C-AFA7-08AD93D7899E}"/>
              </a:ext>
            </a:extLst>
          </p:cNvPr>
          <p:cNvSpPr/>
          <p:nvPr userDrawn="1"/>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chemeClr val="tx1"/>
          </a:solidFill>
        </p:spPr>
        <p:txBody>
          <a:bodyPr wrap="square" lIns="0" tIns="0" rIns="0" bIns="0" rtlCol="0"/>
          <a:lstStyle/>
          <a:p>
            <a:endParaRPr/>
          </a:p>
        </p:txBody>
      </p:sp>
      <p:sp>
        <p:nvSpPr>
          <p:cNvPr id="12" name="object 5">
            <a:extLst>
              <a:ext uri="{FF2B5EF4-FFF2-40B4-BE49-F238E27FC236}">
                <a16:creationId xmlns:a16="http://schemas.microsoft.com/office/drawing/2014/main" id="{336431FE-174A-4D2F-A92F-1D0AA5E4ABFB}"/>
              </a:ext>
            </a:extLst>
          </p:cNvPr>
          <p:cNvSpPr/>
          <p:nvPr userDrawn="1"/>
        </p:nvSpPr>
        <p:spPr>
          <a:xfrm>
            <a:off x="9462380" y="2731408"/>
            <a:ext cx="1360171" cy="2076450"/>
          </a:xfrm>
          <a:custGeom>
            <a:avLst/>
            <a:gdLst/>
            <a:ahLst/>
            <a:cxnLst/>
            <a:rect l="l" t="t"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p:spPr>
        <p:txBody>
          <a:bodyPr wrap="square" lIns="0" tIns="0" rIns="0" bIns="0" rtlCol="0"/>
          <a:lstStyle/>
          <a:p>
            <a:endParaRPr/>
          </a:p>
        </p:txBody>
      </p:sp>
      <p:sp>
        <p:nvSpPr>
          <p:cNvPr id="13" name="object 6">
            <a:extLst>
              <a:ext uri="{FF2B5EF4-FFF2-40B4-BE49-F238E27FC236}">
                <a16:creationId xmlns:a16="http://schemas.microsoft.com/office/drawing/2014/main" id="{7EC14487-1B26-45A1-A4A0-A3686E74DEA1}"/>
              </a:ext>
            </a:extLst>
          </p:cNvPr>
          <p:cNvSpPr/>
          <p:nvPr userDrawn="1"/>
        </p:nvSpPr>
        <p:spPr>
          <a:xfrm>
            <a:off x="10822476" y="2731409"/>
            <a:ext cx="1360171" cy="2076450"/>
          </a:xfrm>
          <a:custGeom>
            <a:avLst/>
            <a:gdLst/>
            <a:ahLst/>
            <a:cxnLst/>
            <a:rect l="l" t="t"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p:spPr>
        <p:txBody>
          <a:bodyPr wrap="square" lIns="0" tIns="0" rIns="0" bIns="0" rtlCol="0"/>
          <a:lstStyle/>
          <a:p>
            <a:endParaRPr/>
          </a:p>
        </p:txBody>
      </p:sp>
      <p:sp>
        <p:nvSpPr>
          <p:cNvPr id="14" name="object 7">
            <a:extLst>
              <a:ext uri="{FF2B5EF4-FFF2-40B4-BE49-F238E27FC236}">
                <a16:creationId xmlns:a16="http://schemas.microsoft.com/office/drawing/2014/main" id="{83BE97B9-6E1F-429B-BC98-416FAB58DFB6}"/>
              </a:ext>
            </a:extLst>
          </p:cNvPr>
          <p:cNvSpPr/>
          <p:nvPr userDrawn="1"/>
        </p:nvSpPr>
        <p:spPr>
          <a:xfrm>
            <a:off x="8107035" y="659402"/>
            <a:ext cx="4076066" cy="6220460"/>
          </a:xfrm>
          <a:custGeom>
            <a:avLst/>
            <a:gdLst/>
            <a:ahLst/>
            <a:cxnLst/>
            <a:rect l="l" t="t"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p:spPr>
        <p:txBody>
          <a:bodyPr wrap="square" lIns="0" tIns="0" rIns="0" bIns="0" rtlCol="0"/>
          <a:lstStyle/>
          <a:p>
            <a:endParaRPr/>
          </a:p>
        </p:txBody>
      </p:sp>
      <p:sp>
        <p:nvSpPr>
          <p:cNvPr id="3" name="Subtitle 2">
            <a:extLst>
              <a:ext uri="{FF2B5EF4-FFF2-40B4-BE49-F238E27FC236}">
                <a16:creationId xmlns:a16="http://schemas.microsoft.com/office/drawing/2014/main" id="{191D739E-3F73-4C3E-8D5C-2C47E332CDEF}"/>
              </a:ext>
            </a:extLst>
          </p:cNvPr>
          <p:cNvSpPr>
            <a:spLocks noGrp="1"/>
          </p:cNvSpPr>
          <p:nvPr>
            <p:ph type="subTitle" idx="1" hasCustomPrompt="1"/>
          </p:nvPr>
        </p:nvSpPr>
        <p:spPr>
          <a:xfrm>
            <a:off x="596348" y="3414411"/>
            <a:ext cx="9144000" cy="400110"/>
          </a:xfrm>
        </p:spPr>
        <p:txBody>
          <a:bodyPr/>
          <a:lstStyle>
            <a:lvl1pPr marL="0" indent="0" algn="l">
              <a:buNone/>
              <a:defRPr sz="2000">
                <a:solidFill>
                  <a:schemeClr val="bg1"/>
                </a:solidFill>
              </a:defRPr>
            </a:lvl1pPr>
            <a:lvl2pPr marL="457216" indent="0" algn="ctr">
              <a:buNone/>
              <a:defRPr sz="2000"/>
            </a:lvl2pPr>
            <a:lvl3pPr marL="914433" indent="0" algn="ctr">
              <a:buNone/>
              <a:defRPr sz="1801"/>
            </a:lvl3pPr>
            <a:lvl4pPr marL="1371653" indent="0" algn="ctr">
              <a:buNone/>
              <a:defRPr sz="1600"/>
            </a:lvl4pPr>
            <a:lvl5pPr marL="1828869" indent="0" algn="ctr">
              <a:buNone/>
              <a:defRPr sz="1600"/>
            </a:lvl5pPr>
            <a:lvl6pPr marL="2286085" indent="0" algn="ctr">
              <a:buNone/>
              <a:defRPr sz="1600"/>
            </a:lvl6pPr>
            <a:lvl7pPr marL="2743302" indent="0" algn="ctr">
              <a:buNone/>
              <a:defRPr sz="1600"/>
            </a:lvl7pPr>
            <a:lvl8pPr marL="3200522" indent="0" algn="ctr">
              <a:buNone/>
              <a:defRPr sz="1600"/>
            </a:lvl8pPr>
            <a:lvl9pPr marL="3657738" indent="0" algn="ctr">
              <a:buNone/>
              <a:defRPr sz="1600"/>
            </a:lvl9pPr>
          </a:lstStyle>
          <a:p>
            <a:r>
              <a:rPr lang="en-US"/>
              <a:t>For more information contact:</a:t>
            </a:r>
          </a:p>
        </p:txBody>
      </p:sp>
      <p:sp>
        <p:nvSpPr>
          <p:cNvPr id="18" name="object 3">
            <a:extLst>
              <a:ext uri="{FF2B5EF4-FFF2-40B4-BE49-F238E27FC236}">
                <a16:creationId xmlns:a16="http://schemas.microsoft.com/office/drawing/2014/main" id="{42BD8603-BAD5-4ECB-A654-B89FAB3DD284}"/>
              </a:ext>
            </a:extLst>
          </p:cNvPr>
          <p:cNvSpPr/>
          <p:nvPr userDrawn="1"/>
        </p:nvSpPr>
        <p:spPr>
          <a:xfrm>
            <a:off x="684277" y="698703"/>
            <a:ext cx="1791335" cy="675640"/>
          </a:xfrm>
          <a:custGeom>
            <a:avLst/>
            <a:gdLst/>
            <a:ahLst/>
            <a:cxnLst/>
            <a:rect l="l" t="t" r="r" b="b"/>
            <a:pathLst>
              <a:path w="1791335" h="675640">
                <a:moveTo>
                  <a:pt x="136543" y="664122"/>
                </a:moveTo>
                <a:lnTo>
                  <a:pt x="0" y="664122"/>
                </a:lnTo>
                <a:lnTo>
                  <a:pt x="0" y="0"/>
                </a:lnTo>
                <a:lnTo>
                  <a:pt x="136543" y="0"/>
                </a:lnTo>
                <a:lnTo>
                  <a:pt x="136543" y="664122"/>
                </a:lnTo>
                <a:close/>
              </a:path>
              <a:path w="1791335" h="675640">
                <a:moveTo>
                  <a:pt x="293232" y="664122"/>
                </a:moveTo>
                <a:lnTo>
                  <a:pt x="136543" y="664122"/>
                </a:lnTo>
                <a:lnTo>
                  <a:pt x="268609" y="433804"/>
                </a:lnTo>
                <a:lnTo>
                  <a:pt x="136543" y="203485"/>
                </a:lnTo>
                <a:lnTo>
                  <a:pt x="293232" y="203485"/>
                </a:lnTo>
                <a:lnTo>
                  <a:pt x="427537" y="433804"/>
                </a:lnTo>
                <a:lnTo>
                  <a:pt x="293232" y="664122"/>
                </a:lnTo>
                <a:close/>
              </a:path>
              <a:path w="1791335" h="675640">
                <a:moveTo>
                  <a:pt x="1340810" y="664122"/>
                </a:moveTo>
                <a:lnTo>
                  <a:pt x="1204266" y="664122"/>
                </a:lnTo>
                <a:lnTo>
                  <a:pt x="1204266" y="0"/>
                </a:lnTo>
                <a:lnTo>
                  <a:pt x="1340810" y="0"/>
                </a:lnTo>
                <a:lnTo>
                  <a:pt x="1340810" y="664122"/>
                </a:lnTo>
                <a:close/>
              </a:path>
              <a:path w="1791335" h="675640">
                <a:moveTo>
                  <a:pt x="1631804" y="664122"/>
                </a:moveTo>
                <a:lnTo>
                  <a:pt x="1472876" y="664122"/>
                </a:lnTo>
                <a:lnTo>
                  <a:pt x="1340810" y="433804"/>
                </a:lnTo>
                <a:lnTo>
                  <a:pt x="1472876" y="203485"/>
                </a:lnTo>
                <a:lnTo>
                  <a:pt x="1631804" y="203485"/>
                </a:lnTo>
                <a:lnTo>
                  <a:pt x="1497499" y="433804"/>
                </a:lnTo>
                <a:lnTo>
                  <a:pt x="1631804" y="664122"/>
                </a:lnTo>
                <a:close/>
              </a:path>
              <a:path w="1791335" h="675640">
                <a:moveTo>
                  <a:pt x="617802" y="675303"/>
                </a:moveTo>
                <a:lnTo>
                  <a:pt x="567220" y="669588"/>
                </a:lnTo>
                <a:lnTo>
                  <a:pt x="528763" y="652693"/>
                </a:lnTo>
                <a:lnTo>
                  <a:pt x="501125" y="624991"/>
                </a:lnTo>
                <a:lnTo>
                  <a:pt x="483000" y="586853"/>
                </a:lnTo>
                <a:lnTo>
                  <a:pt x="473082" y="538652"/>
                </a:lnTo>
                <a:lnTo>
                  <a:pt x="470067" y="480762"/>
                </a:lnTo>
                <a:lnTo>
                  <a:pt x="470067" y="203485"/>
                </a:lnTo>
                <a:lnTo>
                  <a:pt x="602133" y="203485"/>
                </a:lnTo>
                <a:lnTo>
                  <a:pt x="602181" y="447220"/>
                </a:lnTo>
                <a:lnTo>
                  <a:pt x="603147" y="492152"/>
                </a:lnTo>
                <a:lnTo>
                  <a:pt x="610247" y="530515"/>
                </a:lnTo>
                <a:lnTo>
                  <a:pt x="629519" y="556300"/>
                </a:lnTo>
                <a:lnTo>
                  <a:pt x="667047" y="565734"/>
                </a:lnTo>
                <a:lnTo>
                  <a:pt x="875220" y="565734"/>
                </a:lnTo>
                <a:lnTo>
                  <a:pt x="875220" y="599275"/>
                </a:lnTo>
                <a:lnTo>
                  <a:pt x="743153" y="599275"/>
                </a:lnTo>
                <a:lnTo>
                  <a:pt x="721363" y="630965"/>
                </a:lnTo>
                <a:lnTo>
                  <a:pt x="694747" y="654899"/>
                </a:lnTo>
                <a:lnTo>
                  <a:pt x="660996" y="670027"/>
                </a:lnTo>
                <a:lnTo>
                  <a:pt x="617802" y="675303"/>
                </a:lnTo>
                <a:close/>
              </a:path>
              <a:path w="1791335" h="675640">
                <a:moveTo>
                  <a:pt x="875220" y="565734"/>
                </a:moveTo>
                <a:lnTo>
                  <a:pt x="667047" y="565734"/>
                </a:lnTo>
                <a:lnTo>
                  <a:pt x="702547" y="559165"/>
                </a:lnTo>
                <a:lnTo>
                  <a:pt x="726085" y="538342"/>
                </a:lnTo>
                <a:lnTo>
                  <a:pt x="739131" y="501586"/>
                </a:lnTo>
                <a:lnTo>
                  <a:pt x="743153" y="447220"/>
                </a:lnTo>
                <a:lnTo>
                  <a:pt x="743153" y="203485"/>
                </a:lnTo>
                <a:lnTo>
                  <a:pt x="875220" y="203485"/>
                </a:lnTo>
                <a:lnTo>
                  <a:pt x="875220" y="565734"/>
                </a:lnTo>
                <a:close/>
              </a:path>
              <a:path w="1791335" h="675640">
                <a:moveTo>
                  <a:pt x="875220" y="664122"/>
                </a:moveTo>
                <a:lnTo>
                  <a:pt x="743153" y="664122"/>
                </a:lnTo>
                <a:lnTo>
                  <a:pt x="743153" y="599275"/>
                </a:lnTo>
                <a:lnTo>
                  <a:pt x="875220" y="599275"/>
                </a:lnTo>
                <a:lnTo>
                  <a:pt x="875220" y="664122"/>
                </a:lnTo>
                <a:close/>
              </a:path>
              <a:path w="1791335" h="675640">
                <a:moveTo>
                  <a:pt x="1143829" y="664122"/>
                </a:moveTo>
                <a:lnTo>
                  <a:pt x="1103538" y="664122"/>
                </a:lnTo>
                <a:lnTo>
                  <a:pt x="1047148" y="660938"/>
                </a:lnTo>
                <a:lnTo>
                  <a:pt x="1005907" y="649382"/>
                </a:lnTo>
                <a:lnTo>
                  <a:pt x="978312" y="626449"/>
                </a:lnTo>
                <a:lnTo>
                  <a:pt x="962858" y="589132"/>
                </a:lnTo>
                <a:lnTo>
                  <a:pt x="958041" y="534428"/>
                </a:lnTo>
                <a:lnTo>
                  <a:pt x="958041" y="0"/>
                </a:lnTo>
                <a:lnTo>
                  <a:pt x="1094584" y="0"/>
                </a:lnTo>
                <a:lnTo>
                  <a:pt x="1094584" y="500887"/>
                </a:lnTo>
                <a:lnTo>
                  <a:pt x="1092346" y="500887"/>
                </a:lnTo>
                <a:lnTo>
                  <a:pt x="1095039" y="525903"/>
                </a:lnTo>
                <a:lnTo>
                  <a:pt x="1103818" y="541696"/>
                </a:lnTo>
                <a:lnTo>
                  <a:pt x="1119731" y="549941"/>
                </a:lnTo>
                <a:lnTo>
                  <a:pt x="1143829" y="552317"/>
                </a:lnTo>
                <a:lnTo>
                  <a:pt x="1143829" y="664122"/>
                </a:lnTo>
                <a:close/>
              </a:path>
              <a:path w="1791335" h="675640">
                <a:moveTo>
                  <a:pt x="1734771" y="212429"/>
                </a:moveTo>
                <a:lnTo>
                  <a:pt x="1698956" y="212429"/>
                </a:lnTo>
                <a:lnTo>
                  <a:pt x="1698956" y="203485"/>
                </a:lnTo>
                <a:lnTo>
                  <a:pt x="1734771" y="203485"/>
                </a:lnTo>
                <a:lnTo>
                  <a:pt x="1734771" y="212429"/>
                </a:lnTo>
                <a:close/>
              </a:path>
              <a:path w="1791335" h="675640">
                <a:moveTo>
                  <a:pt x="1721340" y="245971"/>
                </a:moveTo>
                <a:lnTo>
                  <a:pt x="1712386" y="245971"/>
                </a:lnTo>
                <a:lnTo>
                  <a:pt x="1712386" y="212429"/>
                </a:lnTo>
                <a:lnTo>
                  <a:pt x="1721340" y="212429"/>
                </a:lnTo>
                <a:lnTo>
                  <a:pt x="1721340" y="245971"/>
                </a:lnTo>
                <a:close/>
              </a:path>
              <a:path w="1791335" h="675640">
                <a:moveTo>
                  <a:pt x="1752678" y="245971"/>
                </a:moveTo>
                <a:lnTo>
                  <a:pt x="1741486" y="245971"/>
                </a:lnTo>
                <a:lnTo>
                  <a:pt x="1741486" y="203485"/>
                </a:lnTo>
                <a:lnTo>
                  <a:pt x="1757155" y="203485"/>
                </a:lnTo>
                <a:lnTo>
                  <a:pt x="1761287" y="216902"/>
                </a:lnTo>
                <a:lnTo>
                  <a:pt x="1752678" y="216902"/>
                </a:lnTo>
                <a:lnTo>
                  <a:pt x="1752678" y="245971"/>
                </a:lnTo>
                <a:close/>
              </a:path>
              <a:path w="1791335" h="675640">
                <a:moveTo>
                  <a:pt x="1774718" y="232554"/>
                </a:moveTo>
                <a:lnTo>
                  <a:pt x="1766108" y="232554"/>
                </a:lnTo>
                <a:lnTo>
                  <a:pt x="1775062" y="203485"/>
                </a:lnTo>
                <a:lnTo>
                  <a:pt x="1790731" y="203485"/>
                </a:lnTo>
                <a:lnTo>
                  <a:pt x="1790731" y="216902"/>
                </a:lnTo>
                <a:lnTo>
                  <a:pt x="1779539" y="216902"/>
                </a:lnTo>
                <a:lnTo>
                  <a:pt x="1774718" y="232554"/>
                </a:lnTo>
                <a:close/>
              </a:path>
              <a:path w="1791335" h="675640">
                <a:moveTo>
                  <a:pt x="1770585" y="245971"/>
                </a:moveTo>
                <a:lnTo>
                  <a:pt x="1761632" y="245971"/>
                </a:lnTo>
                <a:lnTo>
                  <a:pt x="1752678" y="216902"/>
                </a:lnTo>
                <a:lnTo>
                  <a:pt x="1761287" y="216902"/>
                </a:lnTo>
                <a:lnTo>
                  <a:pt x="1766108" y="232554"/>
                </a:lnTo>
                <a:lnTo>
                  <a:pt x="1774718" y="232554"/>
                </a:lnTo>
                <a:lnTo>
                  <a:pt x="1770585" y="245971"/>
                </a:lnTo>
                <a:close/>
              </a:path>
              <a:path w="1791335" h="675640">
                <a:moveTo>
                  <a:pt x="1790731" y="245971"/>
                </a:moveTo>
                <a:lnTo>
                  <a:pt x="1779539" y="245971"/>
                </a:lnTo>
                <a:lnTo>
                  <a:pt x="1779539" y="216902"/>
                </a:lnTo>
                <a:lnTo>
                  <a:pt x="1790731" y="216902"/>
                </a:lnTo>
                <a:lnTo>
                  <a:pt x="1790731" y="245971"/>
                </a:lnTo>
                <a:close/>
              </a:path>
            </a:pathLst>
          </a:custGeom>
          <a:solidFill>
            <a:srgbClr val="FFFFFF"/>
          </a:solidFill>
        </p:spPr>
        <p:txBody>
          <a:bodyPr wrap="square" lIns="0" tIns="0" rIns="0" bIns="0" rtlCol="0"/>
          <a:lstStyle/>
          <a:p>
            <a:endParaRPr/>
          </a:p>
        </p:txBody>
      </p:sp>
    </p:spTree>
    <p:extLst>
      <p:ext uri="{BB962C8B-B14F-4D97-AF65-F5344CB8AC3E}">
        <p14:creationId xmlns:p14="http://schemas.microsoft.com/office/powerpoint/2010/main" val="1602635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D4C8CD90-F67C-F9B6-FD27-A13A6163D5E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7" hidden="1">
                        <a:extLst>
                          <a:ext uri="{FF2B5EF4-FFF2-40B4-BE49-F238E27FC236}">
                            <a16:creationId xmlns:a16="http://schemas.microsoft.com/office/drawing/2014/main" id="{D4C8CD90-F67C-F9B6-FD27-A13A6163D5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4">
            <a:extLst>
              <a:ext uri="{FF2B5EF4-FFF2-40B4-BE49-F238E27FC236}">
                <a16:creationId xmlns:a16="http://schemas.microsoft.com/office/drawing/2014/main" id="{5B9597C7-B51F-7E1F-3D56-69ED227E49A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656 h 541020"/>
              <a:gd name="T6" fmla="*/ 12192000 w 12192000"/>
              <a:gd name="T7" fmla="*/ 541656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nb-NO"/>
          </a:p>
        </p:txBody>
      </p:sp>
      <p:sp>
        <p:nvSpPr>
          <p:cNvPr id="6" name="object 6">
            <a:extLst>
              <a:ext uri="{FF2B5EF4-FFF2-40B4-BE49-F238E27FC236}">
                <a16:creationId xmlns:a16="http://schemas.microsoft.com/office/drawing/2014/main" id="{298F5281-1D76-85F5-CF63-457A55B484C4}"/>
              </a:ext>
            </a:extLst>
          </p:cNvPr>
          <p:cNvSpPr>
            <a:spLocks/>
          </p:cNvSpPr>
          <p:nvPr/>
        </p:nvSpPr>
        <p:spPr bwMode="auto">
          <a:xfrm>
            <a:off x="695325" y="6478588"/>
            <a:ext cx="635000" cy="241300"/>
          </a:xfrm>
          <a:custGeom>
            <a:avLst/>
            <a:gdLst>
              <a:gd name="T0" fmla="*/ 0 w 634365"/>
              <a:gd name="T1" fmla="*/ 238480 h 240029"/>
              <a:gd name="T2" fmla="*/ 48430 w 634365"/>
              <a:gd name="T3" fmla="*/ 0 h 240029"/>
              <a:gd name="T4" fmla="*/ 104008 w 634365"/>
              <a:gd name="T5" fmla="*/ 238480 h 240029"/>
              <a:gd name="T6" fmla="*/ 95274 w 634365"/>
              <a:gd name="T7" fmla="*/ 155775 h 240029"/>
              <a:gd name="T8" fmla="*/ 104008 w 634365"/>
              <a:gd name="T9" fmla="*/ 73069 h 240029"/>
              <a:gd name="T10" fmla="*/ 104008 w 634365"/>
              <a:gd name="T11" fmla="*/ 238480 h 240029"/>
              <a:gd name="T12" fmla="*/ 427148 w 634365"/>
              <a:gd name="T13" fmla="*/ 238480 h 240029"/>
              <a:gd name="T14" fmla="*/ 475580 w 634365"/>
              <a:gd name="T15" fmla="*/ 0 h 240029"/>
              <a:gd name="T16" fmla="*/ 578794 w 634365"/>
              <a:gd name="T17" fmla="*/ 238480 h 240029"/>
              <a:gd name="T18" fmla="*/ 475580 w 634365"/>
              <a:gd name="T19" fmla="*/ 155775 h 240029"/>
              <a:gd name="T20" fmla="*/ 578794 w 634365"/>
              <a:gd name="T21" fmla="*/ 73069 h 240029"/>
              <a:gd name="T22" fmla="*/ 578794 w 634365"/>
              <a:gd name="T23" fmla="*/ 238480 h 240029"/>
              <a:gd name="T24" fmla="*/ 193862 w 634365"/>
              <a:gd name="T25" fmla="*/ 237903 h 240029"/>
              <a:gd name="T26" fmla="*/ 169224 w 634365"/>
              <a:gd name="T27" fmla="*/ 202522 h 240029"/>
              <a:gd name="T28" fmla="*/ 166731 w 634365"/>
              <a:gd name="T29" fmla="*/ 73069 h 240029"/>
              <a:gd name="T30" fmla="*/ 213591 w 634365"/>
              <a:gd name="T31" fmla="*/ 160592 h 240029"/>
              <a:gd name="T32" fmla="*/ 216451 w 634365"/>
              <a:gd name="T33" fmla="*/ 190502 h 240029"/>
              <a:gd name="T34" fmla="*/ 236599 w 634365"/>
              <a:gd name="T35" fmla="*/ 203149 h 240029"/>
              <a:gd name="T36" fmla="*/ 310436 w 634365"/>
              <a:gd name="T37" fmla="*/ 215194 h 240029"/>
              <a:gd name="T38" fmla="*/ 255865 w 634365"/>
              <a:gd name="T39" fmla="*/ 226573 h 240029"/>
              <a:gd name="T40" fmla="*/ 234452 w 634365"/>
              <a:gd name="T41" fmla="*/ 240600 h 240029"/>
              <a:gd name="T42" fmla="*/ 310436 w 634365"/>
              <a:gd name="T43" fmla="*/ 203149 h 240029"/>
              <a:gd name="T44" fmla="*/ 249190 w 634365"/>
              <a:gd name="T45" fmla="*/ 200791 h 240029"/>
              <a:gd name="T46" fmla="*/ 262166 w 634365"/>
              <a:gd name="T47" fmla="*/ 180115 h 240029"/>
              <a:gd name="T48" fmla="*/ 263593 w 634365"/>
              <a:gd name="T49" fmla="*/ 73069 h 240029"/>
              <a:gd name="T50" fmla="*/ 310436 w 634365"/>
              <a:gd name="T51" fmla="*/ 203149 h 240029"/>
              <a:gd name="T52" fmla="*/ 263593 w 634365"/>
              <a:gd name="T53" fmla="*/ 238480 h 240029"/>
              <a:gd name="T54" fmla="*/ 310436 w 634365"/>
              <a:gd name="T55" fmla="*/ 215194 h 240029"/>
              <a:gd name="T56" fmla="*/ 405711 w 634365"/>
              <a:gd name="T57" fmla="*/ 238480 h 240029"/>
              <a:gd name="T58" fmla="*/ 367279 w 634365"/>
              <a:gd name="T59" fmla="*/ 236623 h 240029"/>
              <a:gd name="T60" fmla="*/ 342518 w 634365"/>
              <a:gd name="T61" fmla="*/ 215445 h 240029"/>
              <a:gd name="T62" fmla="*/ 339813 w 634365"/>
              <a:gd name="T63" fmla="*/ 0 h 240029"/>
              <a:gd name="T64" fmla="*/ 388244 w 634365"/>
              <a:gd name="T65" fmla="*/ 179863 h 240029"/>
              <a:gd name="T66" fmla="*/ 388405 w 634365"/>
              <a:gd name="T67" fmla="*/ 188846 h 240029"/>
              <a:gd name="T68" fmla="*/ 397164 w 634365"/>
              <a:gd name="T69" fmla="*/ 197479 h 240029"/>
              <a:gd name="T70" fmla="*/ 405711 w 634365"/>
              <a:gd name="T71" fmla="*/ 238480 h 240029"/>
              <a:gd name="T72" fmla="*/ 602613 w 634365"/>
              <a:gd name="T73" fmla="*/ 76282 h 240029"/>
              <a:gd name="T74" fmla="*/ 615316 w 634365"/>
              <a:gd name="T75" fmla="*/ 73069 h 240029"/>
              <a:gd name="T76" fmla="*/ 610553 w 634365"/>
              <a:gd name="T77" fmla="*/ 88325 h 240029"/>
              <a:gd name="T78" fmla="*/ 607376 w 634365"/>
              <a:gd name="T79" fmla="*/ 76282 h 240029"/>
              <a:gd name="T80" fmla="*/ 610553 w 634365"/>
              <a:gd name="T81" fmla="*/ 88325 h 240029"/>
              <a:gd name="T82" fmla="*/ 617698 w 634365"/>
              <a:gd name="T83" fmla="*/ 88325 h 240029"/>
              <a:gd name="T84" fmla="*/ 623256 w 634365"/>
              <a:gd name="T85" fmla="*/ 73069 h 240029"/>
              <a:gd name="T86" fmla="*/ 621668 w 634365"/>
              <a:gd name="T87" fmla="*/ 77887 h 240029"/>
              <a:gd name="T88" fmla="*/ 629485 w 634365"/>
              <a:gd name="T89" fmla="*/ 83508 h 240029"/>
              <a:gd name="T90" fmla="*/ 629608 w 634365"/>
              <a:gd name="T91" fmla="*/ 73069 h 240029"/>
              <a:gd name="T92" fmla="*/ 635165 w 634365"/>
              <a:gd name="T93" fmla="*/ 77887 h 240029"/>
              <a:gd name="T94" fmla="*/ 629485 w 634365"/>
              <a:gd name="T95" fmla="*/ 83508 h 240029"/>
              <a:gd name="T96" fmla="*/ 624843 w 634365"/>
              <a:gd name="T97" fmla="*/ 88325 h 240029"/>
              <a:gd name="T98" fmla="*/ 624721 w 634365"/>
              <a:gd name="T99" fmla="*/ 77887 h 240029"/>
              <a:gd name="T100" fmla="*/ 629485 w 634365"/>
              <a:gd name="T101" fmla="*/ 83508 h 240029"/>
              <a:gd name="T102" fmla="*/ 635165 w 634365"/>
              <a:gd name="T103" fmla="*/ 88325 h 240029"/>
              <a:gd name="T104" fmla="*/ 631195 w 634365"/>
              <a:gd name="T105" fmla="*/ 77887 h 240029"/>
              <a:gd name="T106" fmla="*/ 635165 w 634365"/>
              <a:gd name="T107" fmla="*/ 88325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nb-NO"/>
          </a:p>
        </p:txBody>
      </p:sp>
      <p:grpSp>
        <p:nvGrpSpPr>
          <p:cNvPr id="8" name="object 2">
            <a:extLst>
              <a:ext uri="{FF2B5EF4-FFF2-40B4-BE49-F238E27FC236}">
                <a16:creationId xmlns:a16="http://schemas.microsoft.com/office/drawing/2014/main" id="{CD8DFBBF-579E-FDD3-DC5A-85DC20FB2E06}"/>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0481E853-08B7-7E1B-6C23-8C3CEB8CE419}"/>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nb-NO"/>
            </a:p>
          </p:txBody>
        </p:sp>
        <p:sp>
          <p:nvSpPr>
            <p:cNvPr id="10" name="object 4">
              <a:extLst>
                <a:ext uri="{FF2B5EF4-FFF2-40B4-BE49-F238E27FC236}">
                  <a16:creationId xmlns:a16="http://schemas.microsoft.com/office/drawing/2014/main" id="{7A27CC37-C655-C871-5664-C25E7587DE2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5" hidden="1">
            <a:extLst>
              <a:ext uri="{FF2B5EF4-FFF2-40B4-BE49-F238E27FC236}">
                <a16:creationId xmlns:a16="http://schemas.microsoft.com/office/drawing/2014/main" id="{F2D1B22E-0CA2-BC01-5657-7AB286E1A3D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5" hidden="1">
                        <a:extLst>
                          <a:ext uri="{FF2B5EF4-FFF2-40B4-BE49-F238E27FC236}">
                            <a16:creationId xmlns:a16="http://schemas.microsoft.com/office/drawing/2014/main" id="{F2D1B22E-0CA2-BC01-5657-7AB286E1A3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Content Placeholder 2"/>
          <p:cNvSpPr>
            <a:spLocks noGrp="1"/>
          </p:cNvSpPr>
          <p:nvPr>
            <p:ph idx="1"/>
          </p:nvPr>
        </p:nvSpPr>
        <p:spPr>
          <a:xfrm>
            <a:off x="600075" y="1825625"/>
            <a:ext cx="3502799" cy="4277995"/>
          </a:xfrm>
        </p:spPr>
        <p:txBody>
          <a:bodyPr>
            <a:noAutofit/>
          </a:bodyPr>
          <a:lstStyle>
            <a:lvl1pPr>
              <a:defRPr sz="1200"/>
            </a:lvl1pPr>
            <a:lvl2pPr>
              <a:defRPr sz="1200"/>
            </a:lvl2pPr>
            <a:lvl3pPr>
              <a:defRPr sz="12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Date Placeholder 3">
            <a:extLst>
              <a:ext uri="{FF2B5EF4-FFF2-40B4-BE49-F238E27FC236}">
                <a16:creationId xmlns:a16="http://schemas.microsoft.com/office/drawing/2014/main" id="{D8E25E50-2D62-2F01-E8A0-C31553982484}"/>
              </a:ext>
            </a:extLst>
          </p:cNvPr>
          <p:cNvSpPr>
            <a:spLocks noGrp="1"/>
          </p:cNvSpPr>
          <p:nvPr>
            <p:ph type="dt" sz="half" idx="10"/>
          </p:nvPr>
        </p:nvSpPr>
        <p:spPr/>
        <p:txBody>
          <a:bodyPr/>
          <a:lstStyle>
            <a:lvl1pPr>
              <a:defRPr/>
            </a:lvl1pPr>
          </a:lstStyle>
          <a:p>
            <a:pPr>
              <a:defRPr/>
            </a:pPr>
            <a:fld id="{0887CBFB-5DBD-47A2-984E-6C1B57753268}" type="datetime1">
              <a:rPr lang="en-US"/>
              <a:pPr>
                <a:defRPr/>
              </a:pPr>
              <a:t>1/18/26</a:t>
            </a:fld>
            <a:endParaRPr lang="en-US"/>
          </a:p>
        </p:txBody>
      </p:sp>
      <p:sp>
        <p:nvSpPr>
          <p:cNvPr id="13" name="Footer Placeholder 4">
            <a:extLst>
              <a:ext uri="{FF2B5EF4-FFF2-40B4-BE49-F238E27FC236}">
                <a16:creationId xmlns:a16="http://schemas.microsoft.com/office/drawing/2014/main" id="{53D62411-3C15-2D92-67DE-D3A98F665B9D}"/>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5">
            <a:extLst>
              <a:ext uri="{FF2B5EF4-FFF2-40B4-BE49-F238E27FC236}">
                <a16:creationId xmlns:a16="http://schemas.microsoft.com/office/drawing/2014/main" id="{407F4B91-6B10-F655-F740-C215DD760A75}"/>
              </a:ext>
            </a:extLst>
          </p:cNvPr>
          <p:cNvSpPr>
            <a:spLocks noGrp="1"/>
          </p:cNvSpPr>
          <p:nvPr>
            <p:ph type="sldNum" sz="quarter" idx="12"/>
          </p:nvPr>
        </p:nvSpPr>
        <p:spPr>
          <a:xfrm>
            <a:off x="11418888" y="6542088"/>
            <a:ext cx="368300" cy="231775"/>
          </a:xfrm>
        </p:spPr>
        <p:txBody>
          <a:bodyPr/>
          <a:lstStyle>
            <a:lvl1pPr>
              <a:defRPr/>
            </a:lvl1pPr>
          </a:lstStyle>
          <a:p>
            <a:pPr>
              <a:defRPr/>
            </a:pPr>
            <a:fld id="{E9A8FBAF-0888-4EBA-BABF-C1B1411D4DB4}" type="slidenum">
              <a:rPr lang="en-US"/>
              <a:pPr>
                <a:defRPr/>
              </a:pPr>
              <a:t>‹#›</a:t>
            </a:fld>
            <a:endParaRPr lang="en-US"/>
          </a:p>
        </p:txBody>
      </p:sp>
      <p:sp>
        <p:nvSpPr>
          <p:cNvPr id="18" name="Content Placeholder 2">
            <a:extLst>
              <a:ext uri="{FF2B5EF4-FFF2-40B4-BE49-F238E27FC236}">
                <a16:creationId xmlns:a16="http://schemas.microsoft.com/office/drawing/2014/main" id="{34D1D77D-D78A-D911-F728-44A3E17B69BA}"/>
              </a:ext>
            </a:extLst>
          </p:cNvPr>
          <p:cNvSpPr>
            <a:spLocks noGrp="1"/>
          </p:cNvSpPr>
          <p:nvPr>
            <p:ph idx="14"/>
          </p:nvPr>
        </p:nvSpPr>
        <p:spPr>
          <a:xfrm>
            <a:off x="8284388" y="1825625"/>
            <a:ext cx="3502800" cy="4277995"/>
          </a:xfrm>
        </p:spPr>
        <p:txBody>
          <a:bodyPr>
            <a:noAutofit/>
          </a:bodyPr>
          <a:lstStyle>
            <a:lvl1pPr>
              <a:defRPr sz="1200"/>
            </a:lvl1pPr>
            <a:lvl2pPr>
              <a:defRPr sz="1200"/>
            </a:lvl2pPr>
            <a:lvl3pPr>
              <a:defRPr sz="12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18">
            <a:extLst>
              <a:ext uri="{FF2B5EF4-FFF2-40B4-BE49-F238E27FC236}">
                <a16:creationId xmlns:a16="http://schemas.microsoft.com/office/drawing/2014/main" id="{6323564A-81C3-A1B6-D5EB-A64C3EF2C847}"/>
              </a:ext>
            </a:extLst>
          </p:cNvPr>
          <p:cNvSpPr>
            <a:spLocks noGrp="1"/>
          </p:cNvSpPr>
          <p:nvPr>
            <p:ph sz="quarter" idx="16" hasCustomPrompt="1"/>
          </p:nvPr>
        </p:nvSpPr>
        <p:spPr>
          <a:xfrm>
            <a:off x="600075" y="1441566"/>
            <a:ext cx="3502800" cy="307777"/>
          </a:xfrm>
          <a:gradFill>
            <a:gsLst>
              <a:gs pos="94000">
                <a:schemeClr val="bg1"/>
              </a:gs>
              <a:gs pos="95000">
                <a:schemeClr val="accent1"/>
              </a:gs>
            </a:gsLst>
            <a:lin ang="5400000" scaled="1"/>
          </a:gradFill>
        </p:spPr>
        <p:txBody>
          <a:bodyPr lIns="0" rIns="0" anchor="b" anchorCtr="0">
            <a:noAutofit/>
          </a:bodyPr>
          <a:lstStyle>
            <a:lvl1pPr marL="0" indent="0">
              <a:buNone/>
              <a:defRPr sz="1300" b="1">
                <a:solidFill>
                  <a:schemeClr val="accent2"/>
                </a:solidFill>
              </a:defRPr>
            </a:lvl1pPr>
          </a:lstStyle>
          <a:p>
            <a:pPr lvl="0"/>
            <a:r>
              <a:rPr lang="en-US"/>
              <a:t>Sub-heading</a:t>
            </a:r>
          </a:p>
        </p:txBody>
      </p:sp>
      <p:sp>
        <p:nvSpPr>
          <p:cNvPr id="17" name="Content Placeholder 18">
            <a:extLst>
              <a:ext uri="{FF2B5EF4-FFF2-40B4-BE49-F238E27FC236}">
                <a16:creationId xmlns:a16="http://schemas.microsoft.com/office/drawing/2014/main" id="{D22402D6-E6AB-0D5A-2DFD-57EDD1852AD8}"/>
              </a:ext>
            </a:extLst>
          </p:cNvPr>
          <p:cNvSpPr>
            <a:spLocks noGrp="1"/>
          </p:cNvSpPr>
          <p:nvPr>
            <p:ph sz="quarter" idx="17" hasCustomPrompt="1"/>
          </p:nvPr>
        </p:nvSpPr>
        <p:spPr>
          <a:xfrm>
            <a:off x="8284388" y="1441566"/>
            <a:ext cx="3502800" cy="307777"/>
          </a:xfrm>
          <a:gradFill>
            <a:gsLst>
              <a:gs pos="94000">
                <a:schemeClr val="bg1"/>
              </a:gs>
              <a:gs pos="95000">
                <a:schemeClr val="accent1"/>
              </a:gs>
            </a:gsLst>
            <a:lin ang="5400000" scaled="1"/>
          </a:gradFill>
        </p:spPr>
        <p:txBody>
          <a:bodyPr lIns="0" rIns="0" anchor="b" anchorCtr="0">
            <a:noAutofit/>
          </a:bodyPr>
          <a:lstStyle>
            <a:lvl1pPr marL="0" indent="0">
              <a:buNone/>
              <a:defRPr sz="1300" b="1">
                <a:solidFill>
                  <a:schemeClr val="accent2"/>
                </a:solidFill>
              </a:defRPr>
            </a:lvl1pPr>
          </a:lstStyle>
          <a:p>
            <a:pPr lvl="0"/>
            <a:r>
              <a:rPr lang="en-US"/>
              <a:t>Sub-heading</a:t>
            </a:r>
          </a:p>
        </p:txBody>
      </p:sp>
      <p:sp>
        <p:nvSpPr>
          <p:cNvPr id="15" name="Content Placeholder 2">
            <a:extLst>
              <a:ext uri="{FF2B5EF4-FFF2-40B4-BE49-F238E27FC236}">
                <a16:creationId xmlns:a16="http://schemas.microsoft.com/office/drawing/2014/main" id="{BD0A31BF-E7A4-B25A-6A79-C990370674E7}"/>
              </a:ext>
            </a:extLst>
          </p:cNvPr>
          <p:cNvSpPr>
            <a:spLocks noGrp="1"/>
          </p:cNvSpPr>
          <p:nvPr>
            <p:ph idx="18"/>
          </p:nvPr>
        </p:nvSpPr>
        <p:spPr>
          <a:xfrm>
            <a:off x="4442231" y="1825625"/>
            <a:ext cx="3502800" cy="4277995"/>
          </a:xfrm>
        </p:spPr>
        <p:txBody>
          <a:bodyPr>
            <a:noAutofit/>
          </a:bodyPr>
          <a:lstStyle>
            <a:lvl1pPr>
              <a:defRPr sz="1200"/>
            </a:lvl1pPr>
            <a:lvl2pPr>
              <a:defRPr sz="1200"/>
            </a:lvl2pPr>
            <a:lvl3pPr>
              <a:defRPr sz="12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Content Placeholder 18">
            <a:extLst>
              <a:ext uri="{FF2B5EF4-FFF2-40B4-BE49-F238E27FC236}">
                <a16:creationId xmlns:a16="http://schemas.microsoft.com/office/drawing/2014/main" id="{9E564FFB-0E54-1297-964D-39ED53075E49}"/>
              </a:ext>
            </a:extLst>
          </p:cNvPr>
          <p:cNvSpPr>
            <a:spLocks noGrp="1"/>
          </p:cNvSpPr>
          <p:nvPr>
            <p:ph sz="quarter" idx="19" hasCustomPrompt="1"/>
          </p:nvPr>
        </p:nvSpPr>
        <p:spPr>
          <a:xfrm>
            <a:off x="4442231" y="1441566"/>
            <a:ext cx="3502800" cy="307777"/>
          </a:xfrm>
          <a:gradFill>
            <a:gsLst>
              <a:gs pos="94000">
                <a:schemeClr val="bg1"/>
              </a:gs>
              <a:gs pos="95000">
                <a:schemeClr val="accent1"/>
              </a:gs>
            </a:gsLst>
            <a:lin ang="5400000" scaled="1"/>
          </a:gradFill>
        </p:spPr>
        <p:txBody>
          <a:bodyPr lIns="0" rIns="0" anchor="b" anchorCtr="0">
            <a:noAutofit/>
          </a:bodyPr>
          <a:lstStyle>
            <a:lvl1pPr marL="0" indent="0">
              <a:buNone/>
              <a:defRPr sz="1300" b="1">
                <a:solidFill>
                  <a:schemeClr val="accent2"/>
                </a:solidFill>
              </a:defRPr>
            </a:lvl1pPr>
          </a:lstStyle>
          <a:p>
            <a:pPr lvl="0"/>
            <a:r>
              <a:rPr lang="en-US"/>
              <a:t>Sub-heading</a:t>
            </a:r>
          </a:p>
        </p:txBody>
      </p:sp>
      <p:sp>
        <p:nvSpPr>
          <p:cNvPr id="20" name="Footer Placeholder 4">
            <a:extLst>
              <a:ext uri="{FF2B5EF4-FFF2-40B4-BE49-F238E27FC236}">
                <a16:creationId xmlns:a16="http://schemas.microsoft.com/office/drawing/2014/main" id="{612DE46C-6E2E-DFAE-425D-1C3D2025438F}"/>
              </a:ext>
            </a:extLst>
          </p:cNvPr>
          <p:cNvSpPr txBox="1">
            <a:spLocks/>
          </p:cNvSpPr>
          <p:nvPr userDrawn="1"/>
        </p:nvSpPr>
        <p:spPr>
          <a:xfrm>
            <a:off x="4858914" y="6542088"/>
            <a:ext cx="2845651" cy="231775"/>
          </a:xfrm>
          <a:prstGeom prst="rect">
            <a:avLst/>
          </a:prstGeom>
          <a:ln>
            <a:solidFill>
              <a:schemeClr val="bg1"/>
            </a:solidFill>
          </a:ln>
        </p:spPr>
        <p:txBody>
          <a:bodyPr vert="horz" wrap="square" lIns="91440" tIns="45720" rIns="91440" bIns="45720" rtlCol="0" anchor="ctr">
            <a:spAutoFit/>
          </a:bodyPr>
          <a:lstStyle>
            <a:defPPr>
              <a:defRPr lang="en-US"/>
            </a:defPPr>
            <a:lvl1pPr algn="l" rtl="0" eaLnBrk="1" fontAlgn="auto" hangingPunct="1">
              <a:spcBef>
                <a:spcPts val="0"/>
              </a:spcBef>
              <a:spcAft>
                <a:spcPts val="0"/>
              </a:spcAft>
              <a:defRPr sz="900" kern="1200">
                <a:solidFill>
                  <a:schemeClr val="bg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en-US"/>
              <a:t>CLASSIFICATION: PUBLIC</a:t>
            </a:r>
          </a:p>
        </p:txBody>
      </p:sp>
    </p:spTree>
    <p:extLst>
      <p:ext uri="{BB962C8B-B14F-4D97-AF65-F5344CB8AC3E}">
        <p14:creationId xmlns:p14="http://schemas.microsoft.com/office/powerpoint/2010/main" val="2718175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ew Hire">
    <p:spTree>
      <p:nvGrpSpPr>
        <p:cNvPr id="1" name=""/>
        <p:cNvGrpSpPr/>
        <p:nvPr/>
      </p:nvGrpSpPr>
      <p:grpSpPr>
        <a:xfrm>
          <a:off x="0" y="0"/>
          <a:ext cx="0" cy="0"/>
          <a:chOff x="0" y="0"/>
          <a:chExt cx="0" cy="0"/>
        </a:xfrm>
      </p:grpSpPr>
      <p:graphicFrame>
        <p:nvGraphicFramePr>
          <p:cNvPr id="3" name="Object 7" hidden="1">
            <a:extLst>
              <a:ext uri="{FF2B5EF4-FFF2-40B4-BE49-F238E27FC236}">
                <a16:creationId xmlns:a16="http://schemas.microsoft.com/office/drawing/2014/main" id="{6542C44A-815A-39CA-E3EC-9F13CB2CA3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7" hidden="1">
                        <a:extLst>
                          <a:ext uri="{FF2B5EF4-FFF2-40B4-BE49-F238E27FC236}">
                            <a16:creationId xmlns:a16="http://schemas.microsoft.com/office/drawing/2014/main" id="{6542C44A-815A-39CA-E3EC-9F13CB2CA3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3DC4B073-E35E-E3F8-98D1-974849946DCF}"/>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AD617C41-5993-64B0-3BA1-83B103442984}"/>
              </a:ext>
            </a:extLst>
          </p:cNvPr>
          <p:cNvSpPr>
            <a:spLocks/>
          </p:cNvSpPr>
          <p:nvPr/>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A53B981F-B3FC-CCBB-A278-D7439FFA17E7}"/>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8" name="object 2">
            <a:extLst>
              <a:ext uri="{FF2B5EF4-FFF2-40B4-BE49-F238E27FC236}">
                <a16:creationId xmlns:a16="http://schemas.microsoft.com/office/drawing/2014/main" id="{0D9A1FEF-677B-EC76-4DE9-C184DEA0E7C6}"/>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80E3980A-09E7-CDA1-FFB1-D6EEED014957}"/>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1B88D80B-DB0E-28B0-4177-A800305D1B41}"/>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A9426580-CCCC-CCEE-B7FE-5102D3508AA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A9426580-CCCC-CCEE-B7FE-5102D3508A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7">
            <a:extLst>
              <a:ext uri="{FF2B5EF4-FFF2-40B4-BE49-F238E27FC236}">
                <a16:creationId xmlns:a16="http://schemas.microsoft.com/office/drawing/2014/main" id="{DAA0B10E-2531-BCB8-901C-74E18E618482}"/>
              </a:ext>
            </a:extLst>
          </p:cNvPr>
          <p:cNvSpPr txBox="1">
            <a:spLocks noChangeArrowheads="1"/>
          </p:cNvSpPr>
          <p:nvPr/>
        </p:nvSpPr>
        <p:spPr bwMode="auto">
          <a:xfrm>
            <a:off x="440055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solidFill>
                  <a:schemeClr val="bg1"/>
                </a:solidFill>
              </a:rPr>
              <a:t>Experience</a:t>
            </a:r>
          </a:p>
        </p:txBody>
      </p:sp>
      <p:sp>
        <p:nvSpPr>
          <p:cNvPr id="13" name="TextBox 18">
            <a:extLst>
              <a:ext uri="{FF2B5EF4-FFF2-40B4-BE49-F238E27FC236}">
                <a16:creationId xmlns:a16="http://schemas.microsoft.com/office/drawing/2014/main" id="{7CA6E45B-418B-382B-7F2E-8B8A56A5054E}"/>
              </a:ext>
            </a:extLst>
          </p:cNvPr>
          <p:cNvSpPr txBox="1">
            <a:spLocks noChangeArrowheads="1"/>
          </p:cNvSpPr>
          <p:nvPr/>
        </p:nvSpPr>
        <p:spPr bwMode="auto">
          <a:xfrm>
            <a:off x="8115300" y="1998663"/>
            <a:ext cx="3381375"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nb-NO" sz="1600" b="1">
                <a:solidFill>
                  <a:schemeClr val="bg1"/>
                </a:solidFill>
              </a:rPr>
              <a:t>Education</a:t>
            </a:r>
          </a:p>
        </p:txBody>
      </p:sp>
      <p:cxnSp>
        <p:nvCxnSpPr>
          <p:cNvPr id="15" name="Straight Connector 14">
            <a:extLst>
              <a:ext uri="{FF2B5EF4-FFF2-40B4-BE49-F238E27FC236}">
                <a16:creationId xmlns:a16="http://schemas.microsoft.com/office/drawing/2014/main" id="{2F62AD3F-E5BB-D6FC-AF4E-ABDF81702FD0}"/>
              </a:ext>
            </a:extLst>
          </p:cNvPr>
          <p:cNvCxnSpPr>
            <a:cxnSpLocks/>
          </p:cNvCxnSpPr>
          <p:nvPr/>
        </p:nvCxnSpPr>
        <p:spPr>
          <a:xfrm>
            <a:off x="7929563" y="2425700"/>
            <a:ext cx="0" cy="32464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p>
        </p:txBody>
      </p:sp>
      <p:sp>
        <p:nvSpPr>
          <p:cNvPr id="14" name="Text Placeholder 13"/>
          <p:cNvSpPr>
            <a:spLocks noGrp="1"/>
          </p:cNvSpPr>
          <p:nvPr>
            <p:ph type="body" sz="quarter" idx="13"/>
          </p:nvPr>
        </p:nvSpPr>
        <p:spPr>
          <a:xfrm>
            <a:off x="4399874" y="2425937"/>
            <a:ext cx="3343973" cy="338554"/>
          </a:xfrm>
        </p:spPr>
        <p:txBody>
          <a:bodyPr/>
          <a:lstStyle>
            <a:lvl1pPr>
              <a:defRPr/>
            </a:lvl1pPr>
          </a:lstStyle>
          <a:p>
            <a:pPr lvl="0"/>
            <a:r>
              <a:rPr lang="en-US"/>
              <a:t>Click to edit Master text styles</a:t>
            </a:r>
          </a:p>
        </p:txBody>
      </p:sp>
      <p:sp>
        <p:nvSpPr>
          <p:cNvPr id="22" name="Text Placeholder 13"/>
          <p:cNvSpPr>
            <a:spLocks noGrp="1"/>
          </p:cNvSpPr>
          <p:nvPr>
            <p:ph type="body" sz="quarter" idx="14"/>
          </p:nvPr>
        </p:nvSpPr>
        <p:spPr>
          <a:xfrm>
            <a:off x="8115326" y="2425937"/>
            <a:ext cx="3159132" cy="338554"/>
          </a:xfrm>
        </p:spPr>
        <p:txBody>
          <a:bodyPr/>
          <a:lstStyle>
            <a:lvl1pPr>
              <a:defRPr/>
            </a:lvl1pPr>
          </a:lstStyle>
          <a:p>
            <a:pPr lvl="0"/>
            <a:r>
              <a:rPr lang="en-US"/>
              <a:t>Click to edit Master text styles</a:t>
            </a:r>
          </a:p>
        </p:txBody>
      </p:sp>
      <p:sp>
        <p:nvSpPr>
          <p:cNvPr id="24" name="Text Placeholder 23"/>
          <p:cNvSpPr>
            <a:spLocks noGrp="1"/>
          </p:cNvSpPr>
          <p:nvPr>
            <p:ph type="body" sz="quarter" idx="15"/>
          </p:nvPr>
        </p:nvSpPr>
        <p:spPr>
          <a:xfrm>
            <a:off x="600075" y="1998098"/>
            <a:ext cx="3341688" cy="338554"/>
          </a:xfrm>
        </p:spPr>
        <p:txBody>
          <a:bodyPr/>
          <a:lstStyle>
            <a:lvl1pPr marL="0" indent="0">
              <a:buNone/>
              <a:defRPr b="1"/>
            </a:lvl1pPr>
          </a:lstStyle>
          <a:p>
            <a:pPr lvl="0"/>
            <a:r>
              <a:rPr lang="en-US"/>
              <a:t>Click to edit Master text styles</a:t>
            </a:r>
          </a:p>
        </p:txBody>
      </p:sp>
      <p:sp>
        <p:nvSpPr>
          <p:cNvPr id="26" name="Picture Placeholder 25"/>
          <p:cNvSpPr>
            <a:spLocks noGrp="1"/>
          </p:cNvSpPr>
          <p:nvPr>
            <p:ph type="pic" sz="quarter" idx="16"/>
          </p:nvPr>
        </p:nvSpPr>
        <p:spPr>
          <a:xfrm>
            <a:off x="695325" y="2425937"/>
            <a:ext cx="3246438" cy="3246539"/>
          </a:xfrm>
        </p:spPr>
        <p:txBody>
          <a:bodyPr rtlCol="0" anchor="ctr"/>
          <a:lstStyle>
            <a:lvl1pPr marL="0" indent="0" algn="ctr">
              <a:buNone/>
              <a:defRPr sz="1000"/>
            </a:lvl1pPr>
          </a:lstStyle>
          <a:p>
            <a:pPr lvl="0"/>
            <a:r>
              <a:rPr lang="en-US" noProof="0"/>
              <a:t>Click icon to add picture</a:t>
            </a:r>
          </a:p>
        </p:txBody>
      </p:sp>
      <p:sp>
        <p:nvSpPr>
          <p:cNvPr id="16" name="Date Placeholder 2">
            <a:extLst>
              <a:ext uri="{FF2B5EF4-FFF2-40B4-BE49-F238E27FC236}">
                <a16:creationId xmlns:a16="http://schemas.microsoft.com/office/drawing/2014/main" id="{1D5C5E8A-D45C-062C-AD23-AC62F6B1E082}"/>
              </a:ext>
            </a:extLst>
          </p:cNvPr>
          <p:cNvSpPr>
            <a:spLocks noGrp="1"/>
          </p:cNvSpPr>
          <p:nvPr>
            <p:ph type="dt" sz="half" idx="17"/>
          </p:nvPr>
        </p:nvSpPr>
        <p:spPr/>
        <p:txBody>
          <a:bodyPr/>
          <a:lstStyle>
            <a:lvl1pPr>
              <a:defRPr/>
            </a:lvl1pPr>
          </a:lstStyle>
          <a:p>
            <a:pPr>
              <a:defRPr/>
            </a:pPr>
            <a:fld id="{40050EBD-4D68-4F7E-B632-911F04E77E1C}" type="datetime1">
              <a:rPr lang="en-US"/>
              <a:pPr>
                <a:defRPr/>
              </a:pPr>
              <a:t>1/18/26</a:t>
            </a:fld>
            <a:endParaRPr lang="en-US"/>
          </a:p>
        </p:txBody>
      </p:sp>
      <p:sp>
        <p:nvSpPr>
          <p:cNvPr id="18" name="Slide Number Placeholder 4">
            <a:extLst>
              <a:ext uri="{FF2B5EF4-FFF2-40B4-BE49-F238E27FC236}">
                <a16:creationId xmlns:a16="http://schemas.microsoft.com/office/drawing/2014/main" id="{F8CB6440-3BB7-DDE7-BB30-FA203EF4F332}"/>
              </a:ext>
            </a:extLst>
          </p:cNvPr>
          <p:cNvSpPr>
            <a:spLocks noGrp="1"/>
          </p:cNvSpPr>
          <p:nvPr>
            <p:ph type="sldNum" sz="quarter" idx="19"/>
          </p:nvPr>
        </p:nvSpPr>
        <p:spPr/>
        <p:txBody>
          <a:bodyPr/>
          <a:lstStyle>
            <a:lvl1pPr>
              <a:defRPr/>
            </a:lvl1pPr>
          </a:lstStyle>
          <a:p>
            <a:pPr>
              <a:defRPr/>
            </a:pPr>
            <a:fld id="{375FE0AF-4B47-4ADC-8D97-B91EEAB6669E}" type="slidenum">
              <a:rPr lang="en-US"/>
              <a:pPr>
                <a:defRPr/>
              </a:pPr>
              <a:t>‹#›</a:t>
            </a:fld>
            <a:endParaRPr lang="en-US"/>
          </a:p>
        </p:txBody>
      </p:sp>
      <p:sp>
        <p:nvSpPr>
          <p:cNvPr id="7" name="Plassholder for bunntekst 1">
            <a:extLst>
              <a:ext uri="{FF2B5EF4-FFF2-40B4-BE49-F238E27FC236}">
                <a16:creationId xmlns:a16="http://schemas.microsoft.com/office/drawing/2014/main" id="{41CA8538-7B60-9395-3FC1-5D3793E56F7B}"/>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34440805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82400" y="419724"/>
            <a:ext cx="10800000" cy="997915"/>
          </a:xfrm>
          <a:prstGeom prst="rect">
            <a:avLst/>
          </a:prstGeom>
        </p:spPr>
        <p:txBody>
          <a:bodyPr anchor="t" anchorCtr="0">
            <a:noAutofit/>
          </a:bodyPr>
          <a:lstStyle>
            <a:lvl1pPr algn="l">
              <a:defRPr/>
            </a:lvl1pPr>
          </a:lstStyle>
          <a:p>
            <a:r>
              <a:rPr lang="en-GB"/>
              <a:t>Click to edit Master title style</a:t>
            </a:r>
            <a:endParaRPr lang="en-US"/>
          </a:p>
        </p:txBody>
      </p:sp>
      <p:sp>
        <p:nvSpPr>
          <p:cNvPr id="3" name="Content Placeholder 2"/>
          <p:cNvSpPr>
            <a:spLocks noGrp="1"/>
          </p:cNvSpPr>
          <p:nvPr>
            <p:ph idx="1"/>
          </p:nvPr>
        </p:nvSpPr>
        <p:spPr>
          <a:xfrm>
            <a:off x="782400" y="2382164"/>
            <a:ext cx="10800000" cy="3744001"/>
          </a:xfrm>
        </p:spPr>
        <p:txBody>
          <a:bodyPr>
            <a:noAutofit/>
          </a:bodyPr>
          <a:lstStyle>
            <a:lvl1pPr marL="243834" indent="-243834">
              <a:defRPr sz="2133"/>
            </a:lvl1pPr>
            <a:lvl2pPr>
              <a:defRPr sz="1867"/>
            </a:lvl2pPr>
            <a:lvl3pPr>
              <a:defRPr sz="1867"/>
            </a:lvl3pPr>
            <a:lvl4pPr>
              <a:defRPr sz="1600"/>
            </a:lvl4pPr>
            <a:lvl5pPr>
              <a:defRPr sz="13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622026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9D8E27-6D07-41EA-BD3D-327B731E7555}"/>
              </a:ext>
            </a:extLst>
          </p:cNvPr>
          <p:cNvGraphicFramePr>
            <a:graphicFrameLocks noChangeAspect="1"/>
          </p:cNvGraphicFramePr>
          <p:nvPr userDrawn="1">
            <p:custDataLst>
              <p:tags r:id="rId1"/>
            </p:custDataLst>
            <p:extLst>
              <p:ext uri="{D42A27DB-BD31-4B8C-83A1-F6EECF244321}">
                <p14:modId xmlns:p14="http://schemas.microsoft.com/office/powerpoint/2010/main" val="222383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9" imgH="375" progId="TCLayout.ActiveDocument.1">
                  <p:embed/>
                </p:oleObj>
              </mc:Choice>
              <mc:Fallback>
                <p:oleObj name="think-cell Slide" r:id="rId3" imgW="369" imgH="375" progId="TCLayout.ActiveDocument.1">
                  <p:embed/>
                  <p:pic>
                    <p:nvPicPr>
                      <p:cNvPr id="8" name="Object 7" hidden="1">
                        <a:extLst>
                          <a:ext uri="{FF2B5EF4-FFF2-40B4-BE49-F238E27FC236}">
                            <a16:creationId xmlns:a16="http://schemas.microsoft.com/office/drawing/2014/main" id="{829D8E27-6D07-41EA-BD3D-327B731E75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FEDA0C-1F2E-4B1E-928F-EBB120618C9F}"/>
              </a:ext>
            </a:extLst>
          </p:cNvPr>
          <p:cNvSpPr>
            <a:spLocks noGrp="1"/>
          </p:cNvSpPr>
          <p:nvPr>
            <p:ph type="title" hasCustomPrompt="1"/>
          </p:nvPr>
        </p:nvSpPr>
        <p:spPr>
          <a:xfrm>
            <a:off x="599661" y="592281"/>
            <a:ext cx="10493674" cy="480003"/>
          </a:xfrm>
        </p:spPr>
        <p:txBody>
          <a:bodyPr vert="horz" wrap="square" lIns="91440" tIns="45720" rIns="91440" bIns="45720" rtlCol="0" anchor="t">
            <a:spAutoFit/>
          </a:bodyPr>
          <a:lstStyle>
            <a:lvl1pPr>
              <a:defRPr lang="en-US" sz="2799"/>
            </a:lvl1pPr>
          </a:lstStyle>
          <a:p>
            <a:pPr lvl="0"/>
            <a:r>
              <a:rPr lang="en-US"/>
              <a:t>Heading</a:t>
            </a:r>
          </a:p>
        </p:txBody>
      </p:sp>
      <p:sp>
        <p:nvSpPr>
          <p:cNvPr id="5" name="Footer Placeholder 4">
            <a:extLst>
              <a:ext uri="{FF2B5EF4-FFF2-40B4-BE49-F238E27FC236}">
                <a16:creationId xmlns:a16="http://schemas.microsoft.com/office/drawing/2014/main" id="{E4F072BD-9C3E-4B51-BF47-8CC14A6747FA}"/>
              </a:ext>
            </a:extLst>
          </p:cNvPr>
          <p:cNvSpPr>
            <a:spLocks noGrp="1"/>
          </p:cNvSpPr>
          <p:nvPr>
            <p:ph type="ftr" sz="quarter" idx="11"/>
          </p:nvPr>
        </p:nvSpPr>
        <p:spPr/>
        <p:txBody>
          <a:bodyPr/>
          <a:lstStyle/>
          <a:p>
            <a:pPr algn="l"/>
            <a:endParaRPr lang="en-US"/>
          </a:p>
        </p:txBody>
      </p:sp>
      <p:sp>
        <p:nvSpPr>
          <p:cNvPr id="6" name="Slide Number Placeholder 5">
            <a:extLst>
              <a:ext uri="{FF2B5EF4-FFF2-40B4-BE49-F238E27FC236}">
                <a16:creationId xmlns:a16="http://schemas.microsoft.com/office/drawing/2014/main" id="{106B81CF-2B5E-4404-BCC6-EC5A42ECEFE9}"/>
              </a:ext>
            </a:extLst>
          </p:cNvPr>
          <p:cNvSpPr>
            <a:spLocks noGrp="1"/>
          </p:cNvSpPr>
          <p:nvPr>
            <p:ph type="sldNum" sz="quarter" idx="12"/>
          </p:nvPr>
        </p:nvSpPr>
        <p:spPr/>
        <p:txBody>
          <a:bodyPr/>
          <a:lstStyle/>
          <a:p>
            <a:fld id="{50A6C693-FA55-4929-8F02-9C5C1D56A297}" type="slidenum">
              <a:rPr lang="en-US" smtClean="0"/>
              <a:t>‹#›</a:t>
            </a:fld>
            <a:endParaRPr lang="en-US"/>
          </a:p>
        </p:txBody>
      </p:sp>
      <p:sp>
        <p:nvSpPr>
          <p:cNvPr id="7" name="Content Placeholder 12">
            <a:extLst>
              <a:ext uri="{FF2B5EF4-FFF2-40B4-BE49-F238E27FC236}">
                <a16:creationId xmlns:a16="http://schemas.microsoft.com/office/drawing/2014/main" id="{F3306B23-CF74-E0E6-343E-85B27C4FA9CF}"/>
              </a:ext>
            </a:extLst>
          </p:cNvPr>
          <p:cNvSpPr>
            <a:spLocks noGrp="1"/>
          </p:cNvSpPr>
          <p:nvPr>
            <p:ph sz="quarter" idx="16"/>
          </p:nvPr>
        </p:nvSpPr>
        <p:spPr>
          <a:xfrm>
            <a:off x="695326" y="1457601"/>
            <a:ext cx="10801349" cy="4671738"/>
          </a:xfrm>
        </p:spPr>
        <p:txBody>
          <a:bodyPr>
            <a:noAutofit/>
          </a:bodyPr>
          <a:lstStyle>
            <a:lvl1pPr rtl="0">
              <a:defRPr sz="900"/>
            </a:lvl1pPr>
            <a:lvl2pPr rtl="0">
              <a:defRPr sz="900"/>
            </a:lvl2pPr>
            <a:lvl3pPr rtl="0">
              <a:defRPr sz="900"/>
            </a:lvl3pPr>
            <a:lvl4pPr rtl="0">
              <a:defRPr sz="900"/>
            </a:lvl4pPr>
            <a:lvl5pPr rtl="0">
              <a:defRPr sz="9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0852308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D4C8CD90-F67C-F9B6-FD27-A13A6163D5ED}"/>
              </a:ext>
            </a:extLst>
          </p:cNvPr>
          <p:cNvGraphicFramePr>
            <a:graphicFrameLocks noChangeAspect="1"/>
          </p:cNvGraphicFramePr>
          <p:nvPr>
            <p:custDataLst>
              <p:tags r:id="rId1"/>
            </p:custDataLst>
            <p:extLst>
              <p:ext uri="{D42A27DB-BD31-4B8C-83A1-F6EECF244321}">
                <p14:modId xmlns:p14="http://schemas.microsoft.com/office/powerpoint/2010/main" val="353205740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7" hidden="1">
                        <a:extLst>
                          <a:ext uri="{FF2B5EF4-FFF2-40B4-BE49-F238E27FC236}">
                            <a16:creationId xmlns:a16="http://schemas.microsoft.com/office/drawing/2014/main" id="{D4C8CD90-F67C-F9B6-FD27-A13A6163D5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4">
            <a:extLst>
              <a:ext uri="{FF2B5EF4-FFF2-40B4-BE49-F238E27FC236}">
                <a16:creationId xmlns:a16="http://schemas.microsoft.com/office/drawing/2014/main" id="{5B9597C7-B51F-7E1F-3D56-69ED227E49A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656 h 541020"/>
              <a:gd name="T6" fmla="*/ 12192000 w 12192000"/>
              <a:gd name="T7" fmla="*/ 541656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rtl="0"/>
            <a:endParaRPr lang="en-GB" sz="1800"/>
          </a:p>
        </p:txBody>
      </p:sp>
      <p:sp>
        <p:nvSpPr>
          <p:cNvPr id="6" name="object 6">
            <a:extLst>
              <a:ext uri="{FF2B5EF4-FFF2-40B4-BE49-F238E27FC236}">
                <a16:creationId xmlns:a16="http://schemas.microsoft.com/office/drawing/2014/main" id="{298F5281-1D76-85F5-CF63-457A55B484C4}"/>
              </a:ext>
            </a:extLst>
          </p:cNvPr>
          <p:cNvSpPr>
            <a:spLocks/>
          </p:cNvSpPr>
          <p:nvPr/>
        </p:nvSpPr>
        <p:spPr bwMode="auto">
          <a:xfrm>
            <a:off x="695325" y="6478588"/>
            <a:ext cx="635000" cy="241300"/>
          </a:xfrm>
          <a:custGeom>
            <a:avLst/>
            <a:gdLst>
              <a:gd name="T0" fmla="*/ 0 w 634365"/>
              <a:gd name="T1" fmla="*/ 238480 h 240029"/>
              <a:gd name="T2" fmla="*/ 48430 w 634365"/>
              <a:gd name="T3" fmla="*/ 0 h 240029"/>
              <a:gd name="T4" fmla="*/ 104008 w 634365"/>
              <a:gd name="T5" fmla="*/ 238480 h 240029"/>
              <a:gd name="T6" fmla="*/ 95274 w 634365"/>
              <a:gd name="T7" fmla="*/ 155775 h 240029"/>
              <a:gd name="T8" fmla="*/ 104008 w 634365"/>
              <a:gd name="T9" fmla="*/ 73069 h 240029"/>
              <a:gd name="T10" fmla="*/ 104008 w 634365"/>
              <a:gd name="T11" fmla="*/ 238480 h 240029"/>
              <a:gd name="T12" fmla="*/ 427148 w 634365"/>
              <a:gd name="T13" fmla="*/ 238480 h 240029"/>
              <a:gd name="T14" fmla="*/ 475580 w 634365"/>
              <a:gd name="T15" fmla="*/ 0 h 240029"/>
              <a:gd name="T16" fmla="*/ 578794 w 634365"/>
              <a:gd name="T17" fmla="*/ 238480 h 240029"/>
              <a:gd name="T18" fmla="*/ 475580 w 634365"/>
              <a:gd name="T19" fmla="*/ 155775 h 240029"/>
              <a:gd name="T20" fmla="*/ 578794 w 634365"/>
              <a:gd name="T21" fmla="*/ 73069 h 240029"/>
              <a:gd name="T22" fmla="*/ 578794 w 634365"/>
              <a:gd name="T23" fmla="*/ 238480 h 240029"/>
              <a:gd name="T24" fmla="*/ 193862 w 634365"/>
              <a:gd name="T25" fmla="*/ 237903 h 240029"/>
              <a:gd name="T26" fmla="*/ 169224 w 634365"/>
              <a:gd name="T27" fmla="*/ 202522 h 240029"/>
              <a:gd name="T28" fmla="*/ 166731 w 634365"/>
              <a:gd name="T29" fmla="*/ 73069 h 240029"/>
              <a:gd name="T30" fmla="*/ 213591 w 634365"/>
              <a:gd name="T31" fmla="*/ 160592 h 240029"/>
              <a:gd name="T32" fmla="*/ 216451 w 634365"/>
              <a:gd name="T33" fmla="*/ 190502 h 240029"/>
              <a:gd name="T34" fmla="*/ 236599 w 634365"/>
              <a:gd name="T35" fmla="*/ 203149 h 240029"/>
              <a:gd name="T36" fmla="*/ 310436 w 634365"/>
              <a:gd name="T37" fmla="*/ 215194 h 240029"/>
              <a:gd name="T38" fmla="*/ 255865 w 634365"/>
              <a:gd name="T39" fmla="*/ 226573 h 240029"/>
              <a:gd name="T40" fmla="*/ 234452 w 634365"/>
              <a:gd name="T41" fmla="*/ 240600 h 240029"/>
              <a:gd name="T42" fmla="*/ 310436 w 634365"/>
              <a:gd name="T43" fmla="*/ 203149 h 240029"/>
              <a:gd name="T44" fmla="*/ 249190 w 634365"/>
              <a:gd name="T45" fmla="*/ 200791 h 240029"/>
              <a:gd name="T46" fmla="*/ 262166 w 634365"/>
              <a:gd name="T47" fmla="*/ 180115 h 240029"/>
              <a:gd name="T48" fmla="*/ 263593 w 634365"/>
              <a:gd name="T49" fmla="*/ 73069 h 240029"/>
              <a:gd name="T50" fmla="*/ 310436 w 634365"/>
              <a:gd name="T51" fmla="*/ 203149 h 240029"/>
              <a:gd name="T52" fmla="*/ 263593 w 634365"/>
              <a:gd name="T53" fmla="*/ 238480 h 240029"/>
              <a:gd name="T54" fmla="*/ 310436 w 634365"/>
              <a:gd name="T55" fmla="*/ 215194 h 240029"/>
              <a:gd name="T56" fmla="*/ 405711 w 634365"/>
              <a:gd name="T57" fmla="*/ 238480 h 240029"/>
              <a:gd name="T58" fmla="*/ 367279 w 634365"/>
              <a:gd name="T59" fmla="*/ 236623 h 240029"/>
              <a:gd name="T60" fmla="*/ 342518 w 634365"/>
              <a:gd name="T61" fmla="*/ 215445 h 240029"/>
              <a:gd name="T62" fmla="*/ 339813 w 634365"/>
              <a:gd name="T63" fmla="*/ 0 h 240029"/>
              <a:gd name="T64" fmla="*/ 388244 w 634365"/>
              <a:gd name="T65" fmla="*/ 179863 h 240029"/>
              <a:gd name="T66" fmla="*/ 388405 w 634365"/>
              <a:gd name="T67" fmla="*/ 188846 h 240029"/>
              <a:gd name="T68" fmla="*/ 397164 w 634365"/>
              <a:gd name="T69" fmla="*/ 197479 h 240029"/>
              <a:gd name="T70" fmla="*/ 405711 w 634365"/>
              <a:gd name="T71" fmla="*/ 238480 h 240029"/>
              <a:gd name="T72" fmla="*/ 602613 w 634365"/>
              <a:gd name="T73" fmla="*/ 76282 h 240029"/>
              <a:gd name="T74" fmla="*/ 615316 w 634365"/>
              <a:gd name="T75" fmla="*/ 73069 h 240029"/>
              <a:gd name="T76" fmla="*/ 610553 w 634365"/>
              <a:gd name="T77" fmla="*/ 88325 h 240029"/>
              <a:gd name="T78" fmla="*/ 607376 w 634365"/>
              <a:gd name="T79" fmla="*/ 76282 h 240029"/>
              <a:gd name="T80" fmla="*/ 610553 w 634365"/>
              <a:gd name="T81" fmla="*/ 88325 h 240029"/>
              <a:gd name="T82" fmla="*/ 617698 w 634365"/>
              <a:gd name="T83" fmla="*/ 88325 h 240029"/>
              <a:gd name="T84" fmla="*/ 623256 w 634365"/>
              <a:gd name="T85" fmla="*/ 73069 h 240029"/>
              <a:gd name="T86" fmla="*/ 621668 w 634365"/>
              <a:gd name="T87" fmla="*/ 77887 h 240029"/>
              <a:gd name="T88" fmla="*/ 629485 w 634365"/>
              <a:gd name="T89" fmla="*/ 83508 h 240029"/>
              <a:gd name="T90" fmla="*/ 629608 w 634365"/>
              <a:gd name="T91" fmla="*/ 73069 h 240029"/>
              <a:gd name="T92" fmla="*/ 635165 w 634365"/>
              <a:gd name="T93" fmla="*/ 77887 h 240029"/>
              <a:gd name="T94" fmla="*/ 629485 w 634365"/>
              <a:gd name="T95" fmla="*/ 83508 h 240029"/>
              <a:gd name="T96" fmla="*/ 624843 w 634365"/>
              <a:gd name="T97" fmla="*/ 88325 h 240029"/>
              <a:gd name="T98" fmla="*/ 624721 w 634365"/>
              <a:gd name="T99" fmla="*/ 77887 h 240029"/>
              <a:gd name="T100" fmla="*/ 629485 w 634365"/>
              <a:gd name="T101" fmla="*/ 83508 h 240029"/>
              <a:gd name="T102" fmla="*/ 635165 w 634365"/>
              <a:gd name="T103" fmla="*/ 88325 h 240029"/>
              <a:gd name="T104" fmla="*/ 631195 w 634365"/>
              <a:gd name="T105" fmla="*/ 77887 h 240029"/>
              <a:gd name="T106" fmla="*/ 635165 w 634365"/>
              <a:gd name="T107" fmla="*/ 88325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rtl="0"/>
            <a:endParaRPr lang="en-GB" sz="1800"/>
          </a:p>
        </p:txBody>
      </p:sp>
      <p:grpSp>
        <p:nvGrpSpPr>
          <p:cNvPr id="8" name="object 2">
            <a:extLst>
              <a:ext uri="{FF2B5EF4-FFF2-40B4-BE49-F238E27FC236}">
                <a16:creationId xmlns:a16="http://schemas.microsoft.com/office/drawing/2014/main" id="{CD8DFBBF-579E-FDD3-DC5A-85DC20FB2E06}"/>
              </a:ext>
            </a:extLst>
          </p:cNvPr>
          <p:cNvGrpSpPr>
            <a:grpSpLocks/>
          </p:cNvGrpSpPr>
          <p:nvPr/>
        </p:nvGrpSpPr>
        <p:grpSpPr bwMode="auto">
          <a:xfrm>
            <a:off x="11002964" y="-4763"/>
            <a:ext cx="1163637" cy="1343026"/>
            <a:chOff x="11002424" y="0"/>
            <a:chExt cx="1163955" cy="1342390"/>
          </a:xfrm>
        </p:grpSpPr>
        <p:sp>
          <p:nvSpPr>
            <p:cNvPr id="9" name="object 3">
              <a:extLst>
                <a:ext uri="{FF2B5EF4-FFF2-40B4-BE49-F238E27FC236}">
                  <a16:creationId xmlns:a16="http://schemas.microsoft.com/office/drawing/2014/main" id="{0481E853-08B7-7E1B-6C23-8C3CEB8CE419}"/>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rtl="0"/>
              <a:endParaRPr lang="en-GB" sz="1800"/>
            </a:p>
          </p:txBody>
        </p:sp>
        <p:sp>
          <p:nvSpPr>
            <p:cNvPr id="10" name="object 4">
              <a:extLst>
                <a:ext uri="{FF2B5EF4-FFF2-40B4-BE49-F238E27FC236}">
                  <a16:creationId xmlns:a16="http://schemas.microsoft.com/office/drawing/2014/main" id="{7A27CC37-C655-C871-5664-C25E7587DE2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rtl="0" eaLnBrk="1" fontAlgn="auto" hangingPunct="1">
                <a:spcBef>
                  <a:spcPts val="0"/>
                </a:spcBef>
                <a:spcAft>
                  <a:spcPts val="0"/>
                </a:spcAft>
                <a:defRPr/>
              </a:pPr>
              <a:endParaRPr lang="en-GB" sz="1800">
                <a:latin typeface="+mn-lt"/>
              </a:endParaRPr>
            </a:p>
          </p:txBody>
        </p:sp>
      </p:grpSp>
      <p:sp>
        <p:nvSpPr>
          <p:cNvPr id="2" name="Title 1"/>
          <p:cNvSpPr>
            <a:spLocks noGrp="1"/>
          </p:cNvSpPr>
          <p:nvPr>
            <p:ph type="title"/>
          </p:nvPr>
        </p:nvSpPr>
        <p:spPr/>
        <p:txBody>
          <a:bodyPr vert="horz"/>
          <a:lstStyle>
            <a:lvl1pPr rtl="0">
              <a:defRPr/>
            </a:lvl1pPr>
          </a:lstStyle>
          <a:p>
            <a:r>
              <a:rPr lang="en-GB"/>
              <a:t>Click to edit Master title style</a:t>
            </a:r>
          </a:p>
        </p:txBody>
      </p:sp>
      <p:sp>
        <p:nvSpPr>
          <p:cNvPr id="3" name="Content Placeholder 2"/>
          <p:cNvSpPr>
            <a:spLocks noGrp="1"/>
          </p:cNvSpPr>
          <p:nvPr>
            <p:ph idx="1"/>
          </p:nvPr>
        </p:nvSpPr>
        <p:spPr>
          <a:xfrm>
            <a:off x="8284389" y="1825625"/>
            <a:ext cx="3502799" cy="4277995"/>
          </a:xfrm>
        </p:spPr>
        <p:txBody>
          <a:bodyPr>
            <a:noAutofit/>
          </a:bodyPr>
          <a:lstStyle>
            <a:lvl1pPr rtl="0">
              <a:defRPr sz="1200"/>
            </a:lvl1pPr>
            <a:lvl2pPr rtl="0">
              <a:defRPr sz="1200"/>
            </a:lvl2pPr>
            <a:lvl3pPr rtl="0">
              <a:defRPr sz="1200"/>
            </a:lvl3pPr>
            <a:lvl4pPr rtl="0">
              <a:defRPr sz="1200"/>
            </a:lvl4pPr>
            <a:lvl5pPr rtl="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Date Placeholder 3">
            <a:extLst>
              <a:ext uri="{FF2B5EF4-FFF2-40B4-BE49-F238E27FC236}">
                <a16:creationId xmlns:a16="http://schemas.microsoft.com/office/drawing/2014/main" id="{D8E25E50-2D62-2F01-E8A0-C31553982484}"/>
              </a:ext>
            </a:extLst>
          </p:cNvPr>
          <p:cNvSpPr>
            <a:spLocks noGrp="1"/>
          </p:cNvSpPr>
          <p:nvPr>
            <p:ph type="dt" sz="half" idx="10"/>
          </p:nvPr>
        </p:nvSpPr>
        <p:spPr/>
        <p:txBody>
          <a:bodyPr/>
          <a:lstStyle>
            <a:lvl1pPr rtl="0">
              <a:defRPr/>
            </a:lvl1pPr>
          </a:lstStyle>
          <a:p>
            <a:pPr>
              <a:defRPr/>
            </a:pPr>
            <a:fld id="{0887CBFB-5DBD-47A2-984E-6C1B57753268}" type="datetime1">
              <a:rPr lang="en-GB" smtClean="0"/>
              <a:pPr>
                <a:defRPr/>
              </a:pPr>
              <a:t>18/01/2026</a:t>
            </a:fld>
            <a:endParaRPr lang="en-GB"/>
          </a:p>
        </p:txBody>
      </p:sp>
      <p:sp>
        <p:nvSpPr>
          <p:cNvPr id="13" name="Footer Placeholder 4">
            <a:extLst>
              <a:ext uri="{FF2B5EF4-FFF2-40B4-BE49-F238E27FC236}">
                <a16:creationId xmlns:a16="http://schemas.microsoft.com/office/drawing/2014/main" id="{53D62411-3C15-2D92-67DE-D3A98F665B9D}"/>
              </a:ext>
            </a:extLst>
          </p:cNvPr>
          <p:cNvSpPr>
            <a:spLocks noGrp="1"/>
          </p:cNvSpPr>
          <p:nvPr>
            <p:ph type="ftr" sz="quarter" idx="11"/>
          </p:nvPr>
        </p:nvSpPr>
        <p:spPr/>
        <p:txBody>
          <a:bodyPr/>
          <a:lstStyle>
            <a:lvl1pPr rtl="0">
              <a:defRPr/>
            </a:lvl1pPr>
          </a:lstStyle>
          <a:p>
            <a:pPr>
              <a:defRPr/>
            </a:pPr>
            <a:endParaRPr lang="en-GB"/>
          </a:p>
        </p:txBody>
      </p:sp>
      <p:sp>
        <p:nvSpPr>
          <p:cNvPr id="14" name="Slide Number Placeholder 5">
            <a:extLst>
              <a:ext uri="{FF2B5EF4-FFF2-40B4-BE49-F238E27FC236}">
                <a16:creationId xmlns:a16="http://schemas.microsoft.com/office/drawing/2014/main" id="{407F4B91-6B10-F655-F740-C215DD760A75}"/>
              </a:ext>
            </a:extLst>
          </p:cNvPr>
          <p:cNvSpPr>
            <a:spLocks noGrp="1"/>
          </p:cNvSpPr>
          <p:nvPr>
            <p:ph type="sldNum" sz="quarter" idx="12"/>
          </p:nvPr>
        </p:nvSpPr>
        <p:spPr>
          <a:xfrm>
            <a:off x="11418888" y="6565643"/>
            <a:ext cx="368300" cy="184666"/>
          </a:xfrm>
        </p:spPr>
        <p:txBody>
          <a:bodyPr/>
          <a:lstStyle>
            <a:lvl1pPr rtl="0">
              <a:defRPr/>
            </a:lvl1pPr>
          </a:lstStyle>
          <a:p>
            <a:pPr>
              <a:defRPr/>
            </a:pPr>
            <a:fld id="{E9A8FBAF-0888-4EBA-BABF-C1B1411D4DB4}" type="slidenum">
              <a:rPr lang="en-GB" smtClean="0"/>
              <a:pPr>
                <a:defRPr/>
              </a:pPr>
              <a:t>‹#›</a:t>
            </a:fld>
            <a:endParaRPr lang="en-GB"/>
          </a:p>
        </p:txBody>
      </p:sp>
      <p:sp>
        <p:nvSpPr>
          <p:cNvPr id="18" name="Content Placeholder 2">
            <a:extLst>
              <a:ext uri="{FF2B5EF4-FFF2-40B4-BE49-F238E27FC236}">
                <a16:creationId xmlns:a16="http://schemas.microsoft.com/office/drawing/2014/main" id="{34D1D77D-D78A-D911-F728-44A3E17B69BA}"/>
              </a:ext>
            </a:extLst>
          </p:cNvPr>
          <p:cNvSpPr>
            <a:spLocks noGrp="1"/>
          </p:cNvSpPr>
          <p:nvPr>
            <p:ph idx="14"/>
          </p:nvPr>
        </p:nvSpPr>
        <p:spPr>
          <a:xfrm>
            <a:off x="600076" y="1825625"/>
            <a:ext cx="7344957" cy="4277995"/>
          </a:xfrm>
        </p:spPr>
        <p:txBody>
          <a:bodyPr>
            <a:noAutofit/>
          </a:bodyPr>
          <a:lstStyle>
            <a:lvl1pPr rtl="0">
              <a:defRPr sz="1200"/>
            </a:lvl1pPr>
            <a:lvl2pPr rtl="0">
              <a:defRPr sz="1200"/>
            </a:lvl2pPr>
            <a:lvl3pPr rtl="0">
              <a:defRPr sz="1200"/>
            </a:lvl3pPr>
            <a:lvl4pPr rtl="0">
              <a:defRPr sz="1200"/>
            </a:lvl4pPr>
            <a:lvl5pPr rtl="0">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Content Placeholder 18">
            <a:extLst>
              <a:ext uri="{FF2B5EF4-FFF2-40B4-BE49-F238E27FC236}">
                <a16:creationId xmlns:a16="http://schemas.microsoft.com/office/drawing/2014/main" id="{727B5796-0FF2-CF1E-7DE7-EE74253381A7}"/>
              </a:ext>
            </a:extLst>
          </p:cNvPr>
          <p:cNvSpPr>
            <a:spLocks noGrp="1"/>
          </p:cNvSpPr>
          <p:nvPr>
            <p:ph sz="quarter" idx="16" hasCustomPrompt="1"/>
          </p:nvPr>
        </p:nvSpPr>
        <p:spPr>
          <a:xfrm>
            <a:off x="600074" y="1441567"/>
            <a:ext cx="7344957" cy="307777"/>
          </a:xfrm>
          <a:gradFill>
            <a:gsLst>
              <a:gs pos="94000">
                <a:schemeClr val="bg1"/>
              </a:gs>
              <a:gs pos="95000">
                <a:schemeClr val="accent1"/>
              </a:gs>
            </a:gsLst>
            <a:lin ang="5400000" scaled="1"/>
          </a:gradFill>
        </p:spPr>
        <p:txBody>
          <a:bodyPr lIns="0" rIns="0" anchor="b" anchorCtr="0">
            <a:noAutofit/>
          </a:bodyPr>
          <a:lstStyle>
            <a:lvl1pPr marL="0" indent="0" rtl="0">
              <a:buNone/>
              <a:defRPr sz="1300" b="1">
                <a:solidFill>
                  <a:schemeClr val="accent2"/>
                </a:solidFill>
              </a:defRPr>
            </a:lvl1pPr>
          </a:lstStyle>
          <a:p>
            <a:pPr lvl="0"/>
            <a:r>
              <a:rPr lang="en-GB"/>
              <a:t>Sub-heading</a:t>
            </a:r>
          </a:p>
        </p:txBody>
      </p:sp>
      <p:sp>
        <p:nvSpPr>
          <p:cNvPr id="16" name="Content Placeholder 18">
            <a:extLst>
              <a:ext uri="{FF2B5EF4-FFF2-40B4-BE49-F238E27FC236}">
                <a16:creationId xmlns:a16="http://schemas.microsoft.com/office/drawing/2014/main" id="{6D8ADE6A-DB0E-DDC5-A2C4-595D1F570E38}"/>
              </a:ext>
            </a:extLst>
          </p:cNvPr>
          <p:cNvSpPr>
            <a:spLocks noGrp="1"/>
          </p:cNvSpPr>
          <p:nvPr>
            <p:ph sz="quarter" idx="17" hasCustomPrompt="1"/>
          </p:nvPr>
        </p:nvSpPr>
        <p:spPr>
          <a:xfrm>
            <a:off x="8284389" y="1441567"/>
            <a:ext cx="3502799" cy="307777"/>
          </a:xfrm>
          <a:gradFill>
            <a:gsLst>
              <a:gs pos="94000">
                <a:schemeClr val="bg1"/>
              </a:gs>
              <a:gs pos="95000">
                <a:schemeClr val="accent1"/>
              </a:gs>
            </a:gsLst>
            <a:lin ang="5400000" scaled="1"/>
          </a:gradFill>
        </p:spPr>
        <p:txBody>
          <a:bodyPr lIns="0" rIns="0" anchor="b" anchorCtr="0">
            <a:noAutofit/>
          </a:bodyPr>
          <a:lstStyle>
            <a:lvl1pPr marL="0" indent="0" rtl="0">
              <a:buNone/>
              <a:defRPr sz="1300" b="1">
                <a:solidFill>
                  <a:schemeClr val="accent2"/>
                </a:solidFill>
              </a:defRPr>
            </a:lvl1pPr>
          </a:lstStyle>
          <a:p>
            <a:pPr lvl="0"/>
            <a:r>
              <a:rPr lang="en-GB"/>
              <a:t>Sub-heading</a:t>
            </a:r>
          </a:p>
        </p:txBody>
      </p:sp>
      <p:sp>
        <p:nvSpPr>
          <p:cNvPr id="7" name="Footer Placeholder 4">
            <a:extLst>
              <a:ext uri="{FF2B5EF4-FFF2-40B4-BE49-F238E27FC236}">
                <a16:creationId xmlns:a16="http://schemas.microsoft.com/office/drawing/2014/main" id="{9CAC1623-E254-DCED-1C95-E5726DE86B3D}"/>
              </a:ext>
            </a:extLst>
          </p:cNvPr>
          <p:cNvSpPr txBox="1">
            <a:spLocks/>
          </p:cNvSpPr>
          <p:nvPr userDrawn="1"/>
        </p:nvSpPr>
        <p:spPr>
          <a:xfrm>
            <a:off x="4858915" y="6542567"/>
            <a:ext cx="2845651" cy="230820"/>
          </a:xfrm>
          <a:prstGeom prst="rect">
            <a:avLst/>
          </a:prstGeom>
          <a:ln>
            <a:solidFill>
              <a:schemeClr val="bg1"/>
            </a:solidFill>
          </a:ln>
        </p:spPr>
        <p:txBody>
          <a:bodyPr vert="horz" wrap="square" lIns="91428" tIns="45714" rIns="91428" bIns="45714" rtlCol="0" anchor="ctr">
            <a:spAutoFit/>
          </a:bodyPr>
          <a:lstStyle>
            <a:defPPr>
              <a:defRPr lang="en-US"/>
            </a:defPPr>
            <a:lvl1pPr algn="l" rtl="0" eaLnBrk="1" fontAlgn="auto" hangingPunct="1">
              <a:spcBef>
                <a:spcPts val="0"/>
              </a:spcBef>
              <a:spcAft>
                <a:spcPts val="0"/>
              </a:spcAft>
              <a:defRPr sz="900" kern="1200">
                <a:solidFill>
                  <a:schemeClr val="bg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rtl="0">
              <a:defRPr/>
            </a:pPr>
            <a:r>
              <a:rPr lang="en-GB" sz="900"/>
              <a:t>CLASSIFICATION: PRIVATE AND CONFIDENTIAL</a:t>
            </a:r>
          </a:p>
        </p:txBody>
      </p:sp>
    </p:spTree>
    <p:extLst>
      <p:ext uri="{BB962C8B-B14F-4D97-AF65-F5344CB8AC3E}">
        <p14:creationId xmlns:p14="http://schemas.microsoft.com/office/powerpoint/2010/main" val="28408696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ED5590-9138-0B7B-F972-D56CD6019807}"/>
              </a:ext>
            </a:extLst>
          </p:cNvPr>
          <p:cNvSpPr>
            <a:spLocks noGrp="1"/>
          </p:cNvSpPr>
          <p:nvPr>
            <p:ph type="dt" sz="half" idx="10"/>
          </p:nvPr>
        </p:nvSpPr>
        <p:spPr/>
        <p:txBody>
          <a:bodyPr/>
          <a:lstStyle/>
          <a:p>
            <a:fld id="{6B36D9B0-6D34-499A-96C7-6D738F1DA44D}" type="datetime1">
              <a:rPr lang="en-US" smtClean="0"/>
              <a:t>1/18/26</a:t>
            </a:fld>
            <a:endParaRPr lang="en-US"/>
          </a:p>
        </p:txBody>
      </p:sp>
      <p:sp>
        <p:nvSpPr>
          <p:cNvPr id="3" name="Footer Placeholder 2">
            <a:extLst>
              <a:ext uri="{FF2B5EF4-FFF2-40B4-BE49-F238E27FC236}">
                <a16:creationId xmlns:a16="http://schemas.microsoft.com/office/drawing/2014/main" id="{40FA8B14-A594-77E4-38D1-AFD48E64FC4A}"/>
              </a:ext>
            </a:extLst>
          </p:cNvPr>
          <p:cNvSpPr>
            <a:spLocks noGrp="1"/>
          </p:cNvSpPr>
          <p:nvPr>
            <p:ph type="ftr" sz="quarter" idx="11"/>
          </p:nvPr>
        </p:nvSpPr>
        <p:spPr>
          <a:xfrm>
            <a:off x="4038600" y="6412385"/>
            <a:ext cx="4114800" cy="230832"/>
          </a:xfrm>
          <a:prstGeom prst="rect">
            <a:avLst/>
          </a:prstGeom>
        </p:spPr>
        <p:txBody>
          <a:bodyPr/>
          <a:lstStyle/>
          <a:p>
            <a:r>
              <a:rPr lang="en-US"/>
              <a:t>Strictly Confidential</a:t>
            </a:r>
          </a:p>
        </p:txBody>
      </p:sp>
      <p:sp>
        <p:nvSpPr>
          <p:cNvPr id="4" name="Slide Number Placeholder 3">
            <a:extLst>
              <a:ext uri="{FF2B5EF4-FFF2-40B4-BE49-F238E27FC236}">
                <a16:creationId xmlns:a16="http://schemas.microsoft.com/office/drawing/2014/main" id="{F30D16CC-1A41-7063-23BE-47782ED071F7}"/>
              </a:ext>
            </a:extLst>
          </p:cNvPr>
          <p:cNvSpPr>
            <a:spLocks noGrp="1"/>
          </p:cNvSpPr>
          <p:nvPr>
            <p:ph type="sldNum" sz="quarter" idx="12"/>
          </p:nvPr>
        </p:nvSpPr>
        <p:spPr/>
        <p:txBody>
          <a:bodyPr/>
          <a:lstStyle/>
          <a:p>
            <a:fld id="{F83D3F8C-D0F2-4C17-A5A8-1A9A6660A6AC}" type="slidenum">
              <a:rPr lang="en-US" smtClean="0"/>
              <a:t>‹#›</a:t>
            </a:fld>
            <a:endParaRPr lang="en-US"/>
          </a:p>
        </p:txBody>
      </p:sp>
      <p:grpSp>
        <p:nvGrpSpPr>
          <p:cNvPr id="5" name="Group 4">
            <a:extLst>
              <a:ext uri="{FF2B5EF4-FFF2-40B4-BE49-F238E27FC236}">
                <a16:creationId xmlns:a16="http://schemas.microsoft.com/office/drawing/2014/main" id="{5DA0B7FE-DD17-2610-EA93-F5C4D92C6D7F}"/>
              </a:ext>
            </a:extLst>
          </p:cNvPr>
          <p:cNvGrpSpPr/>
          <p:nvPr userDrawn="1"/>
        </p:nvGrpSpPr>
        <p:grpSpPr>
          <a:xfrm>
            <a:off x="11171583" y="6356350"/>
            <a:ext cx="854766" cy="394646"/>
            <a:chOff x="4395648" y="1321405"/>
            <a:chExt cx="4427527" cy="2043885"/>
          </a:xfrm>
        </p:grpSpPr>
        <p:pic>
          <p:nvPicPr>
            <p:cNvPr id="6" name="Bilde 12" descr="Et bilde som inneholder Font, Grafikk, logo, tekst&#10;&#10;Automatisk generert beskrivelse">
              <a:extLst>
                <a:ext uri="{FF2B5EF4-FFF2-40B4-BE49-F238E27FC236}">
                  <a16:creationId xmlns:a16="http://schemas.microsoft.com/office/drawing/2014/main" id="{A65804DB-CE84-B30C-81D9-0D499EA882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78307" y="1867787"/>
              <a:ext cx="2944868" cy="1497503"/>
            </a:xfrm>
            <a:prstGeom prst="rect">
              <a:avLst/>
            </a:prstGeom>
          </p:spPr>
        </p:pic>
        <p:pic>
          <p:nvPicPr>
            <p:cNvPr id="7" name="Picture 6">
              <a:extLst>
                <a:ext uri="{FF2B5EF4-FFF2-40B4-BE49-F238E27FC236}">
                  <a16:creationId xmlns:a16="http://schemas.microsoft.com/office/drawing/2014/main" id="{2A6B0F26-D95B-85D6-A541-8C239A83CC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95648" y="1321405"/>
              <a:ext cx="1464059" cy="1427245"/>
            </a:xfrm>
            <a:prstGeom prst="rect">
              <a:avLst/>
            </a:prstGeom>
          </p:spPr>
        </p:pic>
      </p:grpSp>
    </p:spTree>
    <p:extLst>
      <p:ext uri="{BB962C8B-B14F-4D97-AF65-F5344CB8AC3E}">
        <p14:creationId xmlns:p14="http://schemas.microsoft.com/office/powerpoint/2010/main" val="8885663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graphicFrame>
        <p:nvGraphicFramePr>
          <p:cNvPr id="4" name="Object 7" hidden="1">
            <a:extLst>
              <a:ext uri="{FF2B5EF4-FFF2-40B4-BE49-F238E27FC236}">
                <a16:creationId xmlns:a16="http://schemas.microsoft.com/office/drawing/2014/main" id="{D4C8CD90-F67C-F9B6-FD27-A13A6163D5ED}"/>
              </a:ext>
            </a:extLst>
          </p:cNvPr>
          <p:cNvGraphicFramePr>
            <a:graphicFrameLocks noChangeAspect="1"/>
          </p:cNvGraphicFramePr>
          <p:nvPr>
            <p:custDataLst>
              <p:tags r:id="rId1"/>
            </p:custDataLst>
            <p:extLst>
              <p:ext uri="{D42A27DB-BD31-4B8C-83A1-F6EECF244321}">
                <p14:modId xmlns:p14="http://schemas.microsoft.com/office/powerpoint/2010/main" val="4094734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7" hidden="1">
                        <a:extLst>
                          <a:ext uri="{FF2B5EF4-FFF2-40B4-BE49-F238E27FC236}">
                            <a16:creationId xmlns:a16="http://schemas.microsoft.com/office/drawing/2014/main" id="{D4C8CD90-F67C-F9B6-FD27-A13A6163D5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object 4">
            <a:extLst>
              <a:ext uri="{FF2B5EF4-FFF2-40B4-BE49-F238E27FC236}">
                <a16:creationId xmlns:a16="http://schemas.microsoft.com/office/drawing/2014/main" id="{5B9597C7-B51F-7E1F-3D56-69ED227E49AE}"/>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656 h 541020"/>
              <a:gd name="T6" fmla="*/ 12192000 w 12192000"/>
              <a:gd name="T7" fmla="*/ 541656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rtl="0"/>
            <a:endParaRPr lang="en-US" dirty="0"/>
          </a:p>
        </p:txBody>
      </p:sp>
      <p:sp>
        <p:nvSpPr>
          <p:cNvPr id="6" name="object 6">
            <a:extLst>
              <a:ext uri="{FF2B5EF4-FFF2-40B4-BE49-F238E27FC236}">
                <a16:creationId xmlns:a16="http://schemas.microsoft.com/office/drawing/2014/main" id="{298F5281-1D76-85F5-CF63-457A55B484C4}"/>
              </a:ext>
            </a:extLst>
          </p:cNvPr>
          <p:cNvSpPr>
            <a:spLocks/>
          </p:cNvSpPr>
          <p:nvPr/>
        </p:nvSpPr>
        <p:spPr bwMode="auto">
          <a:xfrm>
            <a:off x="695325" y="6478588"/>
            <a:ext cx="635000" cy="241300"/>
          </a:xfrm>
          <a:custGeom>
            <a:avLst/>
            <a:gdLst>
              <a:gd name="T0" fmla="*/ 0 w 634365"/>
              <a:gd name="T1" fmla="*/ 238480 h 240029"/>
              <a:gd name="T2" fmla="*/ 48430 w 634365"/>
              <a:gd name="T3" fmla="*/ 0 h 240029"/>
              <a:gd name="T4" fmla="*/ 104008 w 634365"/>
              <a:gd name="T5" fmla="*/ 238480 h 240029"/>
              <a:gd name="T6" fmla="*/ 95274 w 634365"/>
              <a:gd name="T7" fmla="*/ 155775 h 240029"/>
              <a:gd name="T8" fmla="*/ 104008 w 634365"/>
              <a:gd name="T9" fmla="*/ 73069 h 240029"/>
              <a:gd name="T10" fmla="*/ 104008 w 634365"/>
              <a:gd name="T11" fmla="*/ 238480 h 240029"/>
              <a:gd name="T12" fmla="*/ 427148 w 634365"/>
              <a:gd name="T13" fmla="*/ 238480 h 240029"/>
              <a:gd name="T14" fmla="*/ 475580 w 634365"/>
              <a:gd name="T15" fmla="*/ 0 h 240029"/>
              <a:gd name="T16" fmla="*/ 578794 w 634365"/>
              <a:gd name="T17" fmla="*/ 238480 h 240029"/>
              <a:gd name="T18" fmla="*/ 475580 w 634365"/>
              <a:gd name="T19" fmla="*/ 155775 h 240029"/>
              <a:gd name="T20" fmla="*/ 578794 w 634365"/>
              <a:gd name="T21" fmla="*/ 73069 h 240029"/>
              <a:gd name="T22" fmla="*/ 578794 w 634365"/>
              <a:gd name="T23" fmla="*/ 238480 h 240029"/>
              <a:gd name="T24" fmla="*/ 193862 w 634365"/>
              <a:gd name="T25" fmla="*/ 237903 h 240029"/>
              <a:gd name="T26" fmla="*/ 169224 w 634365"/>
              <a:gd name="T27" fmla="*/ 202522 h 240029"/>
              <a:gd name="T28" fmla="*/ 166731 w 634365"/>
              <a:gd name="T29" fmla="*/ 73069 h 240029"/>
              <a:gd name="T30" fmla="*/ 213591 w 634365"/>
              <a:gd name="T31" fmla="*/ 160592 h 240029"/>
              <a:gd name="T32" fmla="*/ 216451 w 634365"/>
              <a:gd name="T33" fmla="*/ 190502 h 240029"/>
              <a:gd name="T34" fmla="*/ 236599 w 634365"/>
              <a:gd name="T35" fmla="*/ 203149 h 240029"/>
              <a:gd name="T36" fmla="*/ 310436 w 634365"/>
              <a:gd name="T37" fmla="*/ 215194 h 240029"/>
              <a:gd name="T38" fmla="*/ 255865 w 634365"/>
              <a:gd name="T39" fmla="*/ 226573 h 240029"/>
              <a:gd name="T40" fmla="*/ 234452 w 634365"/>
              <a:gd name="T41" fmla="*/ 240600 h 240029"/>
              <a:gd name="T42" fmla="*/ 310436 w 634365"/>
              <a:gd name="T43" fmla="*/ 203149 h 240029"/>
              <a:gd name="T44" fmla="*/ 249190 w 634365"/>
              <a:gd name="T45" fmla="*/ 200791 h 240029"/>
              <a:gd name="T46" fmla="*/ 262166 w 634365"/>
              <a:gd name="T47" fmla="*/ 180115 h 240029"/>
              <a:gd name="T48" fmla="*/ 263593 w 634365"/>
              <a:gd name="T49" fmla="*/ 73069 h 240029"/>
              <a:gd name="T50" fmla="*/ 310436 w 634365"/>
              <a:gd name="T51" fmla="*/ 203149 h 240029"/>
              <a:gd name="T52" fmla="*/ 263593 w 634365"/>
              <a:gd name="T53" fmla="*/ 238480 h 240029"/>
              <a:gd name="T54" fmla="*/ 310436 w 634365"/>
              <a:gd name="T55" fmla="*/ 215194 h 240029"/>
              <a:gd name="T56" fmla="*/ 405711 w 634365"/>
              <a:gd name="T57" fmla="*/ 238480 h 240029"/>
              <a:gd name="T58" fmla="*/ 367279 w 634365"/>
              <a:gd name="T59" fmla="*/ 236623 h 240029"/>
              <a:gd name="T60" fmla="*/ 342518 w 634365"/>
              <a:gd name="T61" fmla="*/ 215445 h 240029"/>
              <a:gd name="T62" fmla="*/ 339813 w 634365"/>
              <a:gd name="T63" fmla="*/ 0 h 240029"/>
              <a:gd name="T64" fmla="*/ 388244 w 634365"/>
              <a:gd name="T65" fmla="*/ 179863 h 240029"/>
              <a:gd name="T66" fmla="*/ 388405 w 634365"/>
              <a:gd name="T67" fmla="*/ 188846 h 240029"/>
              <a:gd name="T68" fmla="*/ 397164 w 634365"/>
              <a:gd name="T69" fmla="*/ 197479 h 240029"/>
              <a:gd name="T70" fmla="*/ 405711 w 634365"/>
              <a:gd name="T71" fmla="*/ 238480 h 240029"/>
              <a:gd name="T72" fmla="*/ 602613 w 634365"/>
              <a:gd name="T73" fmla="*/ 76282 h 240029"/>
              <a:gd name="T74" fmla="*/ 615316 w 634365"/>
              <a:gd name="T75" fmla="*/ 73069 h 240029"/>
              <a:gd name="T76" fmla="*/ 610553 w 634365"/>
              <a:gd name="T77" fmla="*/ 88325 h 240029"/>
              <a:gd name="T78" fmla="*/ 607376 w 634365"/>
              <a:gd name="T79" fmla="*/ 76282 h 240029"/>
              <a:gd name="T80" fmla="*/ 610553 w 634365"/>
              <a:gd name="T81" fmla="*/ 88325 h 240029"/>
              <a:gd name="T82" fmla="*/ 617698 w 634365"/>
              <a:gd name="T83" fmla="*/ 88325 h 240029"/>
              <a:gd name="T84" fmla="*/ 623256 w 634365"/>
              <a:gd name="T85" fmla="*/ 73069 h 240029"/>
              <a:gd name="T86" fmla="*/ 621668 w 634365"/>
              <a:gd name="T87" fmla="*/ 77887 h 240029"/>
              <a:gd name="T88" fmla="*/ 629485 w 634365"/>
              <a:gd name="T89" fmla="*/ 83508 h 240029"/>
              <a:gd name="T90" fmla="*/ 629608 w 634365"/>
              <a:gd name="T91" fmla="*/ 73069 h 240029"/>
              <a:gd name="T92" fmla="*/ 635165 w 634365"/>
              <a:gd name="T93" fmla="*/ 77887 h 240029"/>
              <a:gd name="T94" fmla="*/ 629485 w 634365"/>
              <a:gd name="T95" fmla="*/ 83508 h 240029"/>
              <a:gd name="T96" fmla="*/ 624843 w 634365"/>
              <a:gd name="T97" fmla="*/ 88325 h 240029"/>
              <a:gd name="T98" fmla="*/ 624721 w 634365"/>
              <a:gd name="T99" fmla="*/ 77887 h 240029"/>
              <a:gd name="T100" fmla="*/ 629485 w 634365"/>
              <a:gd name="T101" fmla="*/ 83508 h 240029"/>
              <a:gd name="T102" fmla="*/ 635165 w 634365"/>
              <a:gd name="T103" fmla="*/ 88325 h 240029"/>
              <a:gd name="T104" fmla="*/ 631195 w 634365"/>
              <a:gd name="T105" fmla="*/ 77887 h 240029"/>
              <a:gd name="T106" fmla="*/ 635165 w 634365"/>
              <a:gd name="T107" fmla="*/ 88325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rtl="0"/>
            <a:endParaRPr lang="en-US" dirty="0"/>
          </a:p>
        </p:txBody>
      </p:sp>
      <p:grpSp>
        <p:nvGrpSpPr>
          <p:cNvPr id="8" name="object 2">
            <a:extLst>
              <a:ext uri="{FF2B5EF4-FFF2-40B4-BE49-F238E27FC236}">
                <a16:creationId xmlns:a16="http://schemas.microsoft.com/office/drawing/2014/main" id="{CD8DFBBF-579E-FDD3-DC5A-85DC20FB2E06}"/>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0481E853-08B7-7E1B-6C23-8C3CEB8CE419}"/>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rtl="0"/>
              <a:endParaRPr lang="en-US" dirty="0"/>
            </a:p>
          </p:txBody>
        </p:sp>
        <p:sp>
          <p:nvSpPr>
            <p:cNvPr id="10" name="object 4">
              <a:extLst>
                <a:ext uri="{FF2B5EF4-FFF2-40B4-BE49-F238E27FC236}">
                  <a16:creationId xmlns:a16="http://schemas.microsoft.com/office/drawing/2014/main" id="{7A27CC37-C655-C871-5664-C25E7587DE20}"/>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rtl="0" eaLnBrk="1" fontAlgn="auto" hangingPunct="1">
                <a:spcBef>
                  <a:spcPts val="0"/>
                </a:spcBef>
                <a:spcAft>
                  <a:spcPts val="0"/>
                </a:spcAft>
                <a:defRPr/>
              </a:pPr>
              <a:endParaRPr lang="en-US" dirty="0">
                <a:latin typeface="+mn-lt"/>
              </a:endParaRPr>
            </a:p>
          </p:txBody>
        </p:sp>
      </p:grpSp>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3" name="Content Placeholder 2"/>
          <p:cNvSpPr>
            <a:spLocks noGrp="1"/>
          </p:cNvSpPr>
          <p:nvPr>
            <p:ph idx="1"/>
          </p:nvPr>
        </p:nvSpPr>
        <p:spPr>
          <a:xfrm>
            <a:off x="600074" y="1825625"/>
            <a:ext cx="11187114" cy="4277995"/>
          </a:xfrm>
        </p:spPr>
        <p:txBody>
          <a:bodyPr>
            <a:noAutofit/>
          </a:bodyPr>
          <a:lstStyle>
            <a:lvl1pPr rtl="0">
              <a:defRPr sz="1200"/>
            </a:lvl1pPr>
            <a:lvl2pPr rtl="0">
              <a:defRPr sz="1200"/>
            </a:lvl2pPr>
            <a:lvl3pPr rtl="0">
              <a:defRPr sz="1200"/>
            </a:lvl3pPr>
            <a:lvl4pPr rtl="0">
              <a:defRPr sz="1200"/>
            </a:lvl4pPr>
            <a:lvl5pPr rtl="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a:extLst>
              <a:ext uri="{FF2B5EF4-FFF2-40B4-BE49-F238E27FC236}">
                <a16:creationId xmlns:a16="http://schemas.microsoft.com/office/drawing/2014/main" id="{D8E25E50-2D62-2F01-E8A0-C31553982484}"/>
              </a:ext>
            </a:extLst>
          </p:cNvPr>
          <p:cNvSpPr>
            <a:spLocks noGrp="1"/>
          </p:cNvSpPr>
          <p:nvPr>
            <p:ph type="dt" sz="half" idx="10"/>
          </p:nvPr>
        </p:nvSpPr>
        <p:spPr/>
        <p:txBody>
          <a:bodyPr/>
          <a:lstStyle>
            <a:lvl1pPr rtl="0">
              <a:defRPr/>
            </a:lvl1pPr>
          </a:lstStyle>
          <a:p>
            <a:pPr>
              <a:defRPr/>
            </a:pPr>
            <a:fld id="{0887CBFB-5DBD-47A2-984E-6C1B57753268}" type="datetime1">
              <a:rPr lang="en-US" smtClean="0"/>
              <a:pPr>
                <a:defRPr/>
              </a:pPr>
              <a:t>1/18/26</a:t>
            </a:fld>
            <a:endParaRPr lang="en-US" dirty="0"/>
          </a:p>
        </p:txBody>
      </p:sp>
      <p:sp>
        <p:nvSpPr>
          <p:cNvPr id="13" name="Footer Placeholder 4">
            <a:extLst>
              <a:ext uri="{FF2B5EF4-FFF2-40B4-BE49-F238E27FC236}">
                <a16:creationId xmlns:a16="http://schemas.microsoft.com/office/drawing/2014/main" id="{53D62411-3C15-2D92-67DE-D3A98F665B9D}"/>
              </a:ext>
            </a:extLst>
          </p:cNvPr>
          <p:cNvSpPr>
            <a:spLocks noGrp="1"/>
          </p:cNvSpPr>
          <p:nvPr>
            <p:ph type="ftr" sz="quarter" idx="11"/>
          </p:nvPr>
        </p:nvSpPr>
        <p:spPr/>
        <p:txBody>
          <a:bodyPr/>
          <a:lstStyle>
            <a:lvl1pPr rtl="0">
              <a:defRPr/>
            </a:lvl1pPr>
          </a:lstStyle>
          <a:p>
            <a:pPr>
              <a:defRPr/>
            </a:pPr>
            <a:endParaRPr lang="en-US" dirty="0"/>
          </a:p>
        </p:txBody>
      </p:sp>
      <p:sp>
        <p:nvSpPr>
          <p:cNvPr id="14" name="Slide Number Placeholder 5">
            <a:extLst>
              <a:ext uri="{FF2B5EF4-FFF2-40B4-BE49-F238E27FC236}">
                <a16:creationId xmlns:a16="http://schemas.microsoft.com/office/drawing/2014/main" id="{407F4B91-6B10-F655-F740-C215DD760A75}"/>
              </a:ext>
            </a:extLst>
          </p:cNvPr>
          <p:cNvSpPr>
            <a:spLocks noGrp="1"/>
          </p:cNvSpPr>
          <p:nvPr>
            <p:ph type="sldNum" sz="quarter" idx="12"/>
          </p:nvPr>
        </p:nvSpPr>
        <p:spPr/>
        <p:txBody>
          <a:bodyPr/>
          <a:lstStyle>
            <a:lvl1pPr rtl="0">
              <a:defRPr/>
            </a:lvl1pPr>
          </a:lstStyle>
          <a:p>
            <a:pPr>
              <a:defRPr/>
            </a:pPr>
            <a:fld id="{E9A8FBAF-0888-4EBA-BABF-C1B1411D4DB4}" type="slidenum">
              <a:rPr lang="en-US" smtClean="0"/>
              <a:pPr>
                <a:defRPr/>
              </a:pPr>
              <a:t>‹#›</a:t>
            </a:fld>
            <a:endParaRPr lang="en-US" dirty="0"/>
          </a:p>
        </p:txBody>
      </p:sp>
      <p:sp>
        <p:nvSpPr>
          <p:cNvPr id="19" name="Content Placeholder 18">
            <a:extLst>
              <a:ext uri="{FF2B5EF4-FFF2-40B4-BE49-F238E27FC236}">
                <a16:creationId xmlns:a16="http://schemas.microsoft.com/office/drawing/2014/main" id="{85C43119-ECBB-2FA3-3689-CBB66290C3B4}"/>
              </a:ext>
            </a:extLst>
          </p:cNvPr>
          <p:cNvSpPr>
            <a:spLocks noGrp="1"/>
          </p:cNvSpPr>
          <p:nvPr>
            <p:ph sz="quarter" idx="13" hasCustomPrompt="1"/>
          </p:nvPr>
        </p:nvSpPr>
        <p:spPr>
          <a:xfrm>
            <a:off x="600074" y="1441566"/>
            <a:ext cx="11187114" cy="307777"/>
          </a:xfrm>
          <a:gradFill>
            <a:gsLst>
              <a:gs pos="94000">
                <a:schemeClr val="bg1"/>
              </a:gs>
              <a:gs pos="95000">
                <a:schemeClr val="accent1"/>
              </a:gs>
            </a:gsLst>
            <a:lin ang="5400000" scaled="1"/>
          </a:gradFill>
        </p:spPr>
        <p:txBody>
          <a:bodyPr wrap="square" lIns="0" rIns="0" anchor="b" anchorCtr="0">
            <a:noAutofit/>
          </a:bodyPr>
          <a:lstStyle>
            <a:lvl1pPr marL="0" indent="0" rtl="0">
              <a:buNone/>
              <a:defRPr sz="1300" b="1">
                <a:solidFill>
                  <a:schemeClr val="accent2"/>
                </a:solidFill>
              </a:defRPr>
            </a:lvl1pPr>
          </a:lstStyle>
          <a:p>
            <a:pPr lvl="0"/>
            <a:r>
              <a:rPr lang="en-US" dirty="0"/>
              <a:t>Sub-heading</a:t>
            </a:r>
          </a:p>
        </p:txBody>
      </p:sp>
      <p:sp>
        <p:nvSpPr>
          <p:cNvPr id="15" name="Footer Placeholder 4">
            <a:extLst>
              <a:ext uri="{FF2B5EF4-FFF2-40B4-BE49-F238E27FC236}">
                <a16:creationId xmlns:a16="http://schemas.microsoft.com/office/drawing/2014/main" id="{4D4EE0C6-3E20-D3B3-5A1C-DE71F799F956}"/>
              </a:ext>
            </a:extLst>
          </p:cNvPr>
          <p:cNvSpPr txBox="1">
            <a:spLocks/>
          </p:cNvSpPr>
          <p:nvPr userDrawn="1"/>
        </p:nvSpPr>
        <p:spPr>
          <a:xfrm>
            <a:off x="4858914" y="6542088"/>
            <a:ext cx="2845651" cy="231775"/>
          </a:xfrm>
          <a:prstGeom prst="rect">
            <a:avLst/>
          </a:prstGeom>
          <a:ln>
            <a:solidFill>
              <a:schemeClr val="bg1"/>
            </a:solidFill>
          </a:ln>
        </p:spPr>
        <p:txBody>
          <a:bodyPr vert="horz" wrap="square" lIns="91440" tIns="45720" rIns="91440" bIns="45720" rtlCol="0" anchor="ctr">
            <a:spAutoFit/>
          </a:bodyPr>
          <a:lstStyle>
            <a:defPPr>
              <a:defRPr lang="en-US"/>
            </a:defPPr>
            <a:lvl1pPr algn="l" rtl="0" eaLnBrk="1" fontAlgn="auto" hangingPunct="1">
              <a:spcBef>
                <a:spcPts val="0"/>
              </a:spcBef>
              <a:spcAft>
                <a:spcPts val="0"/>
              </a:spcAft>
              <a:defRPr sz="900" kern="1200">
                <a:solidFill>
                  <a:schemeClr val="bg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rtl="0">
              <a:defRPr/>
            </a:pPr>
            <a:r>
              <a:rPr lang="en-US" dirty="0"/>
              <a:t>CLASSIFICATION: INTERNAL</a:t>
            </a:r>
          </a:p>
        </p:txBody>
      </p:sp>
    </p:spTree>
    <p:extLst>
      <p:ext uri="{BB962C8B-B14F-4D97-AF65-F5344CB8AC3E}">
        <p14:creationId xmlns:p14="http://schemas.microsoft.com/office/powerpoint/2010/main" val="1377179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63B8D39A-6A5C-04F2-6597-FEDC5E3978A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7" hidden="1">
                        <a:extLst>
                          <a:ext uri="{FF2B5EF4-FFF2-40B4-BE49-F238E27FC236}">
                            <a16:creationId xmlns:a16="http://schemas.microsoft.com/office/drawing/2014/main" id="{63B8D39A-6A5C-04F2-6597-FEDC5E3978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object 2">
            <a:extLst>
              <a:ext uri="{FF2B5EF4-FFF2-40B4-BE49-F238E27FC236}">
                <a16:creationId xmlns:a16="http://schemas.microsoft.com/office/drawing/2014/main" id="{6BE14BFB-A97F-5686-EE74-0E0412179E40}"/>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5" name="object 4">
            <a:extLst>
              <a:ext uri="{FF2B5EF4-FFF2-40B4-BE49-F238E27FC236}">
                <a16:creationId xmlns:a16="http://schemas.microsoft.com/office/drawing/2014/main" id="{A9CF04EC-05AF-7219-248E-023F8CF0D2F1}"/>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a:extLst>
              <a:ext uri="{FF2B5EF4-FFF2-40B4-BE49-F238E27FC236}">
                <a16:creationId xmlns:a16="http://schemas.microsoft.com/office/drawing/2014/main" id="{47B7D8B9-1669-AF71-08E5-7332CBBAFAAA}"/>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TextBox 23">
            <a:extLst>
              <a:ext uri="{FF2B5EF4-FFF2-40B4-BE49-F238E27FC236}">
                <a16:creationId xmlns:a16="http://schemas.microsoft.com/office/drawing/2014/main" id="{3E7DC435-CBF7-9827-FE0B-E2EE25CFCC15}"/>
              </a:ext>
            </a:extLst>
          </p:cNvPr>
          <p:cNvSpPr txBox="1">
            <a:spLocks noChangeArrowheads="1"/>
          </p:cNvSpPr>
          <p:nvPr/>
        </p:nvSpPr>
        <p:spPr bwMode="auto">
          <a:xfrm>
            <a:off x="5397500" y="6542088"/>
            <a:ext cx="1768475" cy="231775"/>
          </a:xfrm>
          <a:prstGeom prst="rect">
            <a:avLst/>
          </a:prstGeom>
          <a:noFill/>
          <a:ln w="9525">
            <a:solidFill>
              <a:schemeClr val="bg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nb-NO" sz="900">
                <a:solidFill>
                  <a:schemeClr val="bg1"/>
                </a:solidFill>
              </a:rPr>
              <a:t>CLASSIFICATION: INTERNAL</a:t>
            </a:r>
          </a:p>
        </p:txBody>
      </p:sp>
      <p:grpSp>
        <p:nvGrpSpPr>
          <p:cNvPr id="8" name="object 2">
            <a:extLst>
              <a:ext uri="{FF2B5EF4-FFF2-40B4-BE49-F238E27FC236}">
                <a16:creationId xmlns:a16="http://schemas.microsoft.com/office/drawing/2014/main" id="{8EC59CC8-B219-57BD-B30A-2596E61A3043}"/>
              </a:ext>
            </a:extLst>
          </p:cNvPr>
          <p:cNvGrpSpPr>
            <a:grpSpLocks/>
          </p:cNvGrpSpPr>
          <p:nvPr/>
        </p:nvGrpSpPr>
        <p:grpSpPr bwMode="auto">
          <a:xfrm>
            <a:off x="11002963" y="-4763"/>
            <a:ext cx="1163637" cy="1343026"/>
            <a:chOff x="11002424" y="0"/>
            <a:chExt cx="1163955" cy="1342390"/>
          </a:xfrm>
        </p:grpSpPr>
        <p:sp>
          <p:nvSpPr>
            <p:cNvPr id="9" name="object 3">
              <a:extLst>
                <a:ext uri="{FF2B5EF4-FFF2-40B4-BE49-F238E27FC236}">
                  <a16:creationId xmlns:a16="http://schemas.microsoft.com/office/drawing/2014/main" id="{7354C638-0BC3-30CA-F45B-BD6969E20D9D}"/>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4">
              <a:extLst>
                <a:ext uri="{FF2B5EF4-FFF2-40B4-BE49-F238E27FC236}">
                  <a16:creationId xmlns:a16="http://schemas.microsoft.com/office/drawing/2014/main" id="{8FF5ED31-19C7-8ABD-D024-541C73519362}"/>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graphicFrame>
        <p:nvGraphicFramePr>
          <p:cNvPr id="11" name="Object 16" hidden="1">
            <a:extLst>
              <a:ext uri="{FF2B5EF4-FFF2-40B4-BE49-F238E27FC236}">
                <a16:creationId xmlns:a16="http://schemas.microsoft.com/office/drawing/2014/main" id="{FBB6C640-F0A6-48E3-92AE-37912B44819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1" name="Object 16" hidden="1">
                        <a:extLst>
                          <a:ext uri="{FF2B5EF4-FFF2-40B4-BE49-F238E27FC236}">
                            <a16:creationId xmlns:a16="http://schemas.microsoft.com/office/drawing/2014/main" id="{FBB6C640-F0A6-48E3-92AE-37912B4481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object 2">
            <a:extLst>
              <a:ext uri="{FF2B5EF4-FFF2-40B4-BE49-F238E27FC236}">
                <a16:creationId xmlns:a16="http://schemas.microsoft.com/office/drawing/2014/main" id="{5DF4099D-70F4-2F0F-77C7-3FE33C4B926D}"/>
              </a:ext>
            </a:extLst>
          </p:cNvPr>
          <p:cNvSpPr>
            <a:spLocks/>
          </p:cNvSpPr>
          <p:nvPr/>
        </p:nvSpPr>
        <p:spPr bwMode="auto">
          <a:xfrm>
            <a:off x="0" y="0"/>
            <a:ext cx="12192000" cy="6858000"/>
          </a:xfrm>
          <a:custGeom>
            <a:avLst/>
            <a:gdLst>
              <a:gd name="T0" fmla="*/ 12192000 w 12192000"/>
              <a:gd name="T1" fmla="*/ 0 h 6858000"/>
              <a:gd name="T2" fmla="*/ 0 w 12192000"/>
              <a:gd name="T3" fmla="*/ 0 h 6858000"/>
              <a:gd name="T4" fmla="*/ 0 w 12192000"/>
              <a:gd name="T5" fmla="*/ 6858000 h 6858000"/>
              <a:gd name="T6" fmla="*/ 12192000 w 12192000"/>
              <a:gd name="T7" fmla="*/ 6858000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3" name="object 5">
            <a:extLst>
              <a:ext uri="{FF2B5EF4-FFF2-40B4-BE49-F238E27FC236}">
                <a16:creationId xmlns:a16="http://schemas.microsoft.com/office/drawing/2014/main" id="{992956BB-BF53-564C-20B8-757CB74B8172}"/>
              </a:ext>
            </a:extLst>
          </p:cNvPr>
          <p:cNvSpPr>
            <a:spLocks/>
          </p:cNvSpPr>
          <p:nvPr/>
        </p:nvSpPr>
        <p:spPr bwMode="auto">
          <a:xfrm>
            <a:off x="9463088" y="2732088"/>
            <a:ext cx="1358900" cy="2076450"/>
          </a:xfrm>
          <a:custGeom>
            <a:avLst/>
            <a:gdLst>
              <a:gd name="T0" fmla="*/ 736427 w 1360170"/>
              <a:gd name="T1" fmla="*/ 2075849 h 2076450"/>
              <a:gd name="T2" fmla="*/ 0 w 1360170"/>
              <a:gd name="T3" fmla="*/ 2075849 h 2076450"/>
              <a:gd name="T4" fmla="*/ 620023 w 1360170"/>
              <a:gd name="T5" fmla="*/ 1036736 h 2076450"/>
              <a:gd name="T6" fmla="*/ 0 w 1360170"/>
              <a:gd name="T7" fmla="*/ 0 h 2076450"/>
              <a:gd name="T8" fmla="*/ 736427 w 1360170"/>
              <a:gd name="T9" fmla="*/ 0 h 2076450"/>
              <a:gd name="T10" fmla="*/ 1358825 w 1360170"/>
              <a:gd name="T11" fmla="*/ 1036736 h 2076450"/>
              <a:gd name="T12" fmla="*/ 736427 w 1360170"/>
              <a:gd name="T13" fmla="*/ 2075849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6">
            <a:extLst>
              <a:ext uri="{FF2B5EF4-FFF2-40B4-BE49-F238E27FC236}">
                <a16:creationId xmlns:a16="http://schemas.microsoft.com/office/drawing/2014/main" id="{C92712CF-1FAC-A81A-6D1D-777416D24666}"/>
              </a:ext>
            </a:extLst>
          </p:cNvPr>
          <p:cNvSpPr>
            <a:spLocks/>
          </p:cNvSpPr>
          <p:nvPr/>
        </p:nvSpPr>
        <p:spPr bwMode="auto">
          <a:xfrm>
            <a:off x="10821988" y="2732088"/>
            <a:ext cx="1360487" cy="2076450"/>
          </a:xfrm>
          <a:custGeom>
            <a:avLst/>
            <a:gdLst>
              <a:gd name="T0" fmla="*/ 1360410 w 1360170"/>
              <a:gd name="T1" fmla="*/ 2075847 h 2076450"/>
              <a:gd name="T2" fmla="*/ 620747 w 1360170"/>
              <a:gd name="T3" fmla="*/ 2075847 h 2076450"/>
              <a:gd name="T4" fmla="*/ 0 w 1360170"/>
              <a:gd name="T5" fmla="*/ 1036733 h 2076450"/>
              <a:gd name="T6" fmla="*/ 620747 w 1360170"/>
              <a:gd name="T7" fmla="*/ 0 h 2076450"/>
              <a:gd name="T8" fmla="*/ 1360410 w 1360170"/>
              <a:gd name="T9" fmla="*/ 0 h 2076450"/>
              <a:gd name="T10" fmla="*/ 737285 w 1360170"/>
              <a:gd name="T11" fmla="*/ 1036733 h 2076450"/>
              <a:gd name="T12" fmla="*/ 1360410 w 1360170"/>
              <a:gd name="T13" fmla="*/ 2075847 h 20764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0170" h="2076450">
                <a:moveTo>
                  <a:pt x="1360093" y="2075847"/>
                </a:moveTo>
                <a:lnTo>
                  <a:pt x="620602" y="2075847"/>
                </a:lnTo>
                <a:lnTo>
                  <a:pt x="0" y="1036733"/>
                </a:lnTo>
                <a:lnTo>
                  <a:pt x="620602" y="0"/>
                </a:lnTo>
                <a:lnTo>
                  <a:pt x="1360093" y="0"/>
                </a:lnTo>
                <a:lnTo>
                  <a:pt x="737113" y="1036733"/>
                </a:lnTo>
                <a:lnTo>
                  <a:pt x="1360093" y="207584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7">
            <a:extLst>
              <a:ext uri="{FF2B5EF4-FFF2-40B4-BE49-F238E27FC236}">
                <a16:creationId xmlns:a16="http://schemas.microsoft.com/office/drawing/2014/main" id="{C931AE60-86B9-F129-0279-4FFBF46EA587}"/>
              </a:ext>
            </a:extLst>
          </p:cNvPr>
          <p:cNvSpPr>
            <a:spLocks/>
          </p:cNvSpPr>
          <p:nvPr/>
        </p:nvSpPr>
        <p:spPr bwMode="auto">
          <a:xfrm>
            <a:off x="8107363" y="658813"/>
            <a:ext cx="4075112" cy="6221412"/>
          </a:xfrm>
          <a:custGeom>
            <a:avLst/>
            <a:gdLst>
              <a:gd name="T0" fmla="*/ 1359775 w 4076065"/>
              <a:gd name="T1" fmla="*/ 4149954 h 6220459"/>
              <a:gd name="T2" fmla="*/ 622839 w 4076065"/>
              <a:gd name="T3" fmla="*/ 4149954 h 6220459"/>
              <a:gd name="T4" fmla="*/ 0 w 4076065"/>
              <a:gd name="T5" fmla="*/ 5186852 h 6220459"/>
              <a:gd name="T6" fmla="*/ 619805 w 4076065"/>
              <a:gd name="T7" fmla="*/ 6221057 h 6220459"/>
              <a:gd name="T8" fmla="*/ 1356754 w 4076065"/>
              <a:gd name="T9" fmla="*/ 6221057 h 6220459"/>
              <a:gd name="T10" fmla="*/ 739322 w 4076065"/>
              <a:gd name="T11" fmla="*/ 5186852 h 6220459"/>
              <a:gd name="T12" fmla="*/ 1359775 w 4076065"/>
              <a:gd name="T13" fmla="*/ 4149954 h 6220459"/>
              <a:gd name="T14" fmla="*/ 2719551 w 4076065"/>
              <a:gd name="T15" fmla="*/ 5186852 h 6220459"/>
              <a:gd name="T16" fmla="*/ 2096724 w 4076065"/>
              <a:gd name="T17" fmla="*/ 4149954 h 6220459"/>
              <a:gd name="T18" fmla="*/ 1359788 w 4076065"/>
              <a:gd name="T19" fmla="*/ 4149954 h 6220459"/>
              <a:gd name="T20" fmla="*/ 1980241 w 4076065"/>
              <a:gd name="T21" fmla="*/ 5186852 h 6220459"/>
              <a:gd name="T22" fmla="*/ 1973106 w 4076065"/>
              <a:gd name="T23" fmla="*/ 5198741 h 6220459"/>
              <a:gd name="T24" fmla="*/ 2710054 w 4076065"/>
              <a:gd name="T25" fmla="*/ 5198741 h 6220459"/>
              <a:gd name="T26" fmla="*/ 2719551 w 4076065"/>
              <a:gd name="T27" fmla="*/ 5186852 h 6220459"/>
              <a:gd name="T28" fmla="*/ 4074578 w 4076065"/>
              <a:gd name="T29" fmla="*/ 0 h 6220459"/>
              <a:gd name="T30" fmla="*/ 3335256 w 4076065"/>
              <a:gd name="T31" fmla="*/ 0 h 6220459"/>
              <a:gd name="T32" fmla="*/ 2714802 w 4076065"/>
              <a:gd name="T33" fmla="*/ 1036898 h 6220459"/>
              <a:gd name="T34" fmla="*/ 3335256 w 4076065"/>
              <a:gd name="T35" fmla="*/ 2076171 h 6220459"/>
              <a:gd name="T36" fmla="*/ 4074578 w 4076065"/>
              <a:gd name="T37" fmla="*/ 2076171 h 6220459"/>
              <a:gd name="T38" fmla="*/ 3451738 w 4076065"/>
              <a:gd name="T39" fmla="*/ 1036898 h 6220459"/>
              <a:gd name="T40" fmla="*/ 4074578 w 4076065"/>
              <a:gd name="T41" fmla="*/ 0 h 62204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76065" h="6220459">
                <a:moveTo>
                  <a:pt x="1360093" y="4149318"/>
                </a:moveTo>
                <a:lnTo>
                  <a:pt x="622985" y="4149318"/>
                </a:lnTo>
                <a:lnTo>
                  <a:pt x="0" y="5186057"/>
                </a:lnTo>
                <a:lnTo>
                  <a:pt x="619950" y="6220104"/>
                </a:lnTo>
                <a:lnTo>
                  <a:pt x="1357071" y="6220104"/>
                </a:lnTo>
                <a:lnTo>
                  <a:pt x="739495" y="5186057"/>
                </a:lnTo>
                <a:lnTo>
                  <a:pt x="1360093" y="4149318"/>
                </a:lnTo>
                <a:close/>
              </a:path>
              <a:path w="4076065" h="6220459">
                <a:moveTo>
                  <a:pt x="2720187" y="5186057"/>
                </a:moveTo>
                <a:lnTo>
                  <a:pt x="2097214" y="4149318"/>
                </a:lnTo>
                <a:lnTo>
                  <a:pt x="1360106" y="4149318"/>
                </a:lnTo>
                <a:lnTo>
                  <a:pt x="1980704" y="5186057"/>
                </a:lnTo>
                <a:lnTo>
                  <a:pt x="1973567" y="5197945"/>
                </a:lnTo>
                <a:lnTo>
                  <a:pt x="2710688" y="5197945"/>
                </a:lnTo>
                <a:lnTo>
                  <a:pt x="2720187" y="5186057"/>
                </a:lnTo>
                <a:close/>
              </a:path>
              <a:path w="4076065" h="6220459">
                <a:moveTo>
                  <a:pt x="4075531" y="0"/>
                </a:moveTo>
                <a:lnTo>
                  <a:pt x="3336036" y="0"/>
                </a:lnTo>
                <a:lnTo>
                  <a:pt x="2715437" y="1036739"/>
                </a:lnTo>
                <a:lnTo>
                  <a:pt x="3336036" y="2075853"/>
                </a:lnTo>
                <a:lnTo>
                  <a:pt x="4075531" y="2075853"/>
                </a:lnTo>
                <a:lnTo>
                  <a:pt x="3452545" y="1036739"/>
                </a:lnTo>
                <a:lnTo>
                  <a:pt x="4075531" y="0"/>
                </a:lnTo>
                <a:close/>
              </a:path>
            </a:pathLst>
          </a:custGeom>
          <a:solidFill>
            <a:srgbClr val="52698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3">
            <a:extLst>
              <a:ext uri="{FF2B5EF4-FFF2-40B4-BE49-F238E27FC236}">
                <a16:creationId xmlns:a16="http://schemas.microsoft.com/office/drawing/2014/main" id="{AF3D580C-D4AF-2E98-3463-B8B7404565F9}"/>
              </a:ext>
            </a:extLst>
          </p:cNvPr>
          <p:cNvSpPr>
            <a:spLocks/>
          </p:cNvSpPr>
          <p:nvPr/>
        </p:nvSpPr>
        <p:spPr bwMode="auto">
          <a:xfrm>
            <a:off x="684213" y="698500"/>
            <a:ext cx="1790700" cy="676275"/>
          </a:xfrm>
          <a:custGeom>
            <a:avLst/>
            <a:gdLst>
              <a:gd name="T0" fmla="*/ 0 w 1791335"/>
              <a:gd name="T1" fmla="*/ 664746 h 675640"/>
              <a:gd name="T2" fmla="*/ 136495 w 1791335"/>
              <a:gd name="T3" fmla="*/ 0 h 675640"/>
              <a:gd name="T4" fmla="*/ 293128 w 1791335"/>
              <a:gd name="T5" fmla="*/ 664746 h 675640"/>
              <a:gd name="T6" fmla="*/ 268514 w 1791335"/>
              <a:gd name="T7" fmla="*/ 434212 h 675640"/>
              <a:gd name="T8" fmla="*/ 293128 w 1791335"/>
              <a:gd name="T9" fmla="*/ 203676 h 675640"/>
              <a:gd name="T10" fmla="*/ 293128 w 1791335"/>
              <a:gd name="T11" fmla="*/ 664746 h 675640"/>
              <a:gd name="T12" fmla="*/ 1203839 w 1791335"/>
              <a:gd name="T13" fmla="*/ 664746 h 675640"/>
              <a:gd name="T14" fmla="*/ 1340335 w 1791335"/>
              <a:gd name="T15" fmla="*/ 0 h 675640"/>
              <a:gd name="T16" fmla="*/ 1631226 w 1791335"/>
              <a:gd name="T17" fmla="*/ 664746 h 675640"/>
              <a:gd name="T18" fmla="*/ 1340335 w 1791335"/>
              <a:gd name="T19" fmla="*/ 434212 h 675640"/>
              <a:gd name="T20" fmla="*/ 1631226 w 1791335"/>
              <a:gd name="T21" fmla="*/ 203676 h 675640"/>
              <a:gd name="T22" fmla="*/ 1631226 w 1791335"/>
              <a:gd name="T23" fmla="*/ 664746 h 675640"/>
              <a:gd name="T24" fmla="*/ 567019 w 1791335"/>
              <a:gd name="T25" fmla="*/ 670217 h 675640"/>
              <a:gd name="T26" fmla="*/ 500947 w 1791335"/>
              <a:gd name="T27" fmla="*/ 625578 h 675640"/>
              <a:gd name="T28" fmla="*/ 472914 w 1791335"/>
              <a:gd name="T29" fmla="*/ 539158 h 675640"/>
              <a:gd name="T30" fmla="*/ 469900 w 1791335"/>
              <a:gd name="T31" fmla="*/ 203676 h 675640"/>
              <a:gd name="T32" fmla="*/ 601968 w 1791335"/>
              <a:gd name="T33" fmla="*/ 447640 h 675640"/>
              <a:gd name="T34" fmla="*/ 610031 w 1791335"/>
              <a:gd name="T35" fmla="*/ 531014 h 675640"/>
              <a:gd name="T36" fmla="*/ 666811 w 1791335"/>
              <a:gd name="T37" fmla="*/ 566266 h 675640"/>
              <a:gd name="T38" fmla="*/ 874910 w 1791335"/>
              <a:gd name="T39" fmla="*/ 599838 h 675640"/>
              <a:gd name="T40" fmla="*/ 721107 w 1791335"/>
              <a:gd name="T41" fmla="*/ 631558 h 675640"/>
              <a:gd name="T42" fmla="*/ 660762 w 1791335"/>
              <a:gd name="T43" fmla="*/ 670657 h 675640"/>
              <a:gd name="T44" fmla="*/ 874910 w 1791335"/>
              <a:gd name="T45" fmla="*/ 566266 h 675640"/>
              <a:gd name="T46" fmla="*/ 702298 w 1791335"/>
              <a:gd name="T47" fmla="*/ 559691 h 675640"/>
              <a:gd name="T48" fmla="*/ 738869 w 1791335"/>
              <a:gd name="T49" fmla="*/ 502057 h 675640"/>
              <a:gd name="T50" fmla="*/ 742890 w 1791335"/>
              <a:gd name="T51" fmla="*/ 203676 h 675640"/>
              <a:gd name="T52" fmla="*/ 874910 w 1791335"/>
              <a:gd name="T53" fmla="*/ 566266 h 675640"/>
              <a:gd name="T54" fmla="*/ 742890 w 1791335"/>
              <a:gd name="T55" fmla="*/ 664746 h 675640"/>
              <a:gd name="T56" fmla="*/ 874910 w 1791335"/>
              <a:gd name="T57" fmla="*/ 599838 h 675640"/>
              <a:gd name="T58" fmla="*/ 1143424 w 1791335"/>
              <a:gd name="T59" fmla="*/ 664746 h 675640"/>
              <a:gd name="T60" fmla="*/ 1046777 w 1791335"/>
              <a:gd name="T61" fmla="*/ 661559 h 675640"/>
              <a:gd name="T62" fmla="*/ 977965 w 1791335"/>
              <a:gd name="T63" fmla="*/ 627038 h 675640"/>
              <a:gd name="T64" fmla="*/ 957701 w 1791335"/>
              <a:gd name="T65" fmla="*/ 534930 h 675640"/>
              <a:gd name="T66" fmla="*/ 1094196 w 1791335"/>
              <a:gd name="T67" fmla="*/ 0 h 675640"/>
              <a:gd name="T68" fmla="*/ 1091959 w 1791335"/>
              <a:gd name="T69" fmla="*/ 501358 h 675640"/>
              <a:gd name="T70" fmla="*/ 1103427 w 1791335"/>
              <a:gd name="T71" fmla="*/ 542205 h 675640"/>
              <a:gd name="T72" fmla="*/ 1143424 w 1791335"/>
              <a:gd name="T73" fmla="*/ 552836 h 675640"/>
              <a:gd name="T74" fmla="*/ 1734156 w 1791335"/>
              <a:gd name="T75" fmla="*/ 212629 h 675640"/>
              <a:gd name="T76" fmla="*/ 1698354 w 1791335"/>
              <a:gd name="T77" fmla="*/ 203676 h 675640"/>
              <a:gd name="T78" fmla="*/ 1734156 w 1791335"/>
              <a:gd name="T79" fmla="*/ 212629 h 675640"/>
              <a:gd name="T80" fmla="*/ 1711779 w 1791335"/>
              <a:gd name="T81" fmla="*/ 246202 h 675640"/>
              <a:gd name="T82" fmla="*/ 1720730 w 1791335"/>
              <a:gd name="T83" fmla="*/ 212629 h 675640"/>
              <a:gd name="T84" fmla="*/ 1752057 w 1791335"/>
              <a:gd name="T85" fmla="*/ 246202 h 675640"/>
              <a:gd name="T86" fmla="*/ 1740869 w 1791335"/>
              <a:gd name="T87" fmla="*/ 203676 h 675640"/>
              <a:gd name="T88" fmla="*/ 1760663 w 1791335"/>
              <a:gd name="T89" fmla="*/ 217106 h 675640"/>
              <a:gd name="T90" fmla="*/ 1752057 w 1791335"/>
              <a:gd name="T91" fmla="*/ 246202 h 675640"/>
              <a:gd name="T92" fmla="*/ 1765482 w 1791335"/>
              <a:gd name="T93" fmla="*/ 232773 h 675640"/>
              <a:gd name="T94" fmla="*/ 1790096 w 1791335"/>
              <a:gd name="T95" fmla="*/ 203676 h 675640"/>
              <a:gd name="T96" fmla="*/ 1778908 w 1791335"/>
              <a:gd name="T97" fmla="*/ 217106 h 675640"/>
              <a:gd name="T98" fmla="*/ 1769957 w 1791335"/>
              <a:gd name="T99" fmla="*/ 246202 h 675640"/>
              <a:gd name="T100" fmla="*/ 1752057 w 1791335"/>
              <a:gd name="T101" fmla="*/ 217106 h 675640"/>
              <a:gd name="T102" fmla="*/ 1765482 w 1791335"/>
              <a:gd name="T103" fmla="*/ 232773 h 675640"/>
              <a:gd name="T104" fmla="*/ 1769957 w 1791335"/>
              <a:gd name="T105" fmla="*/ 246202 h 675640"/>
              <a:gd name="T106" fmla="*/ 1778908 w 1791335"/>
              <a:gd name="T107" fmla="*/ 246202 h 675640"/>
              <a:gd name="T108" fmla="*/ 1790096 w 1791335"/>
              <a:gd name="T109" fmla="*/ 217106 h 6756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91335" h="675640">
                <a:moveTo>
                  <a:pt x="136543" y="664122"/>
                </a:moveTo>
                <a:lnTo>
                  <a:pt x="0" y="664122"/>
                </a:lnTo>
                <a:lnTo>
                  <a:pt x="0" y="0"/>
                </a:lnTo>
                <a:lnTo>
                  <a:pt x="136543" y="0"/>
                </a:lnTo>
                <a:lnTo>
                  <a:pt x="136543" y="664122"/>
                </a:lnTo>
                <a:close/>
              </a:path>
              <a:path w="1791335" h="675640">
                <a:moveTo>
                  <a:pt x="293232" y="664122"/>
                </a:moveTo>
                <a:lnTo>
                  <a:pt x="136543" y="664122"/>
                </a:lnTo>
                <a:lnTo>
                  <a:pt x="268609" y="433804"/>
                </a:lnTo>
                <a:lnTo>
                  <a:pt x="136543" y="203485"/>
                </a:lnTo>
                <a:lnTo>
                  <a:pt x="293232" y="203485"/>
                </a:lnTo>
                <a:lnTo>
                  <a:pt x="427537" y="433804"/>
                </a:lnTo>
                <a:lnTo>
                  <a:pt x="293232" y="664122"/>
                </a:lnTo>
                <a:close/>
              </a:path>
              <a:path w="1791335" h="675640">
                <a:moveTo>
                  <a:pt x="1340810" y="664122"/>
                </a:moveTo>
                <a:lnTo>
                  <a:pt x="1204266" y="664122"/>
                </a:lnTo>
                <a:lnTo>
                  <a:pt x="1204266" y="0"/>
                </a:lnTo>
                <a:lnTo>
                  <a:pt x="1340810" y="0"/>
                </a:lnTo>
                <a:lnTo>
                  <a:pt x="1340810" y="664122"/>
                </a:lnTo>
                <a:close/>
              </a:path>
              <a:path w="1791335" h="675640">
                <a:moveTo>
                  <a:pt x="1631804" y="664122"/>
                </a:moveTo>
                <a:lnTo>
                  <a:pt x="1472876" y="664122"/>
                </a:lnTo>
                <a:lnTo>
                  <a:pt x="1340810" y="433804"/>
                </a:lnTo>
                <a:lnTo>
                  <a:pt x="1472876" y="203485"/>
                </a:lnTo>
                <a:lnTo>
                  <a:pt x="1631804" y="203485"/>
                </a:lnTo>
                <a:lnTo>
                  <a:pt x="1497499" y="433804"/>
                </a:lnTo>
                <a:lnTo>
                  <a:pt x="1631804" y="664122"/>
                </a:lnTo>
                <a:close/>
              </a:path>
              <a:path w="1791335" h="675640">
                <a:moveTo>
                  <a:pt x="617802" y="675303"/>
                </a:moveTo>
                <a:lnTo>
                  <a:pt x="567220" y="669588"/>
                </a:lnTo>
                <a:lnTo>
                  <a:pt x="528763" y="652693"/>
                </a:lnTo>
                <a:lnTo>
                  <a:pt x="501125" y="624991"/>
                </a:lnTo>
                <a:lnTo>
                  <a:pt x="483000" y="586853"/>
                </a:lnTo>
                <a:lnTo>
                  <a:pt x="473082" y="538652"/>
                </a:lnTo>
                <a:lnTo>
                  <a:pt x="470067" y="480762"/>
                </a:lnTo>
                <a:lnTo>
                  <a:pt x="470067" y="203485"/>
                </a:lnTo>
                <a:lnTo>
                  <a:pt x="602133" y="203485"/>
                </a:lnTo>
                <a:lnTo>
                  <a:pt x="602181" y="447220"/>
                </a:lnTo>
                <a:lnTo>
                  <a:pt x="603147" y="492152"/>
                </a:lnTo>
                <a:lnTo>
                  <a:pt x="610247" y="530515"/>
                </a:lnTo>
                <a:lnTo>
                  <a:pt x="629519" y="556300"/>
                </a:lnTo>
                <a:lnTo>
                  <a:pt x="667047" y="565734"/>
                </a:lnTo>
                <a:lnTo>
                  <a:pt x="875220" y="565734"/>
                </a:lnTo>
                <a:lnTo>
                  <a:pt x="875220" y="599275"/>
                </a:lnTo>
                <a:lnTo>
                  <a:pt x="743153" y="599275"/>
                </a:lnTo>
                <a:lnTo>
                  <a:pt x="721363" y="630965"/>
                </a:lnTo>
                <a:lnTo>
                  <a:pt x="694747" y="654899"/>
                </a:lnTo>
                <a:lnTo>
                  <a:pt x="660996" y="670027"/>
                </a:lnTo>
                <a:lnTo>
                  <a:pt x="617802" y="675303"/>
                </a:lnTo>
                <a:close/>
              </a:path>
              <a:path w="1791335" h="675640">
                <a:moveTo>
                  <a:pt x="875220" y="565734"/>
                </a:moveTo>
                <a:lnTo>
                  <a:pt x="667047" y="565734"/>
                </a:lnTo>
                <a:lnTo>
                  <a:pt x="702547" y="559165"/>
                </a:lnTo>
                <a:lnTo>
                  <a:pt x="726085" y="538342"/>
                </a:lnTo>
                <a:lnTo>
                  <a:pt x="739131" y="501586"/>
                </a:lnTo>
                <a:lnTo>
                  <a:pt x="743153" y="447220"/>
                </a:lnTo>
                <a:lnTo>
                  <a:pt x="743153" y="203485"/>
                </a:lnTo>
                <a:lnTo>
                  <a:pt x="875220" y="203485"/>
                </a:lnTo>
                <a:lnTo>
                  <a:pt x="875220" y="565734"/>
                </a:lnTo>
                <a:close/>
              </a:path>
              <a:path w="1791335" h="675640">
                <a:moveTo>
                  <a:pt x="875220" y="664122"/>
                </a:moveTo>
                <a:lnTo>
                  <a:pt x="743153" y="664122"/>
                </a:lnTo>
                <a:lnTo>
                  <a:pt x="743153" y="599275"/>
                </a:lnTo>
                <a:lnTo>
                  <a:pt x="875220" y="599275"/>
                </a:lnTo>
                <a:lnTo>
                  <a:pt x="875220" y="664122"/>
                </a:lnTo>
                <a:close/>
              </a:path>
              <a:path w="1791335" h="675640">
                <a:moveTo>
                  <a:pt x="1143829" y="664122"/>
                </a:moveTo>
                <a:lnTo>
                  <a:pt x="1103538" y="664122"/>
                </a:lnTo>
                <a:lnTo>
                  <a:pt x="1047148" y="660938"/>
                </a:lnTo>
                <a:lnTo>
                  <a:pt x="1005907" y="649382"/>
                </a:lnTo>
                <a:lnTo>
                  <a:pt x="978312" y="626449"/>
                </a:lnTo>
                <a:lnTo>
                  <a:pt x="962858" y="589132"/>
                </a:lnTo>
                <a:lnTo>
                  <a:pt x="958041" y="534428"/>
                </a:lnTo>
                <a:lnTo>
                  <a:pt x="958041" y="0"/>
                </a:lnTo>
                <a:lnTo>
                  <a:pt x="1094584" y="0"/>
                </a:lnTo>
                <a:lnTo>
                  <a:pt x="1094584" y="500887"/>
                </a:lnTo>
                <a:lnTo>
                  <a:pt x="1092346" y="500887"/>
                </a:lnTo>
                <a:lnTo>
                  <a:pt x="1095039" y="525903"/>
                </a:lnTo>
                <a:lnTo>
                  <a:pt x="1103818" y="541696"/>
                </a:lnTo>
                <a:lnTo>
                  <a:pt x="1119731" y="549941"/>
                </a:lnTo>
                <a:lnTo>
                  <a:pt x="1143829" y="552317"/>
                </a:lnTo>
                <a:lnTo>
                  <a:pt x="1143829" y="664122"/>
                </a:lnTo>
                <a:close/>
              </a:path>
              <a:path w="1791335" h="675640">
                <a:moveTo>
                  <a:pt x="1734771" y="212429"/>
                </a:moveTo>
                <a:lnTo>
                  <a:pt x="1698956" y="212429"/>
                </a:lnTo>
                <a:lnTo>
                  <a:pt x="1698956" y="203485"/>
                </a:lnTo>
                <a:lnTo>
                  <a:pt x="1734771" y="203485"/>
                </a:lnTo>
                <a:lnTo>
                  <a:pt x="1734771" y="212429"/>
                </a:lnTo>
                <a:close/>
              </a:path>
              <a:path w="1791335" h="675640">
                <a:moveTo>
                  <a:pt x="1721340" y="245971"/>
                </a:moveTo>
                <a:lnTo>
                  <a:pt x="1712386" y="245971"/>
                </a:lnTo>
                <a:lnTo>
                  <a:pt x="1712386" y="212429"/>
                </a:lnTo>
                <a:lnTo>
                  <a:pt x="1721340" y="212429"/>
                </a:lnTo>
                <a:lnTo>
                  <a:pt x="1721340" y="245971"/>
                </a:lnTo>
                <a:close/>
              </a:path>
              <a:path w="1791335" h="675640">
                <a:moveTo>
                  <a:pt x="1752678" y="245971"/>
                </a:moveTo>
                <a:lnTo>
                  <a:pt x="1741486" y="245971"/>
                </a:lnTo>
                <a:lnTo>
                  <a:pt x="1741486" y="203485"/>
                </a:lnTo>
                <a:lnTo>
                  <a:pt x="1757155" y="203485"/>
                </a:lnTo>
                <a:lnTo>
                  <a:pt x="1761287" y="216902"/>
                </a:lnTo>
                <a:lnTo>
                  <a:pt x="1752678" y="216902"/>
                </a:lnTo>
                <a:lnTo>
                  <a:pt x="1752678" y="245971"/>
                </a:lnTo>
                <a:close/>
              </a:path>
              <a:path w="1791335" h="675640">
                <a:moveTo>
                  <a:pt x="1774718" y="232554"/>
                </a:moveTo>
                <a:lnTo>
                  <a:pt x="1766108" y="232554"/>
                </a:lnTo>
                <a:lnTo>
                  <a:pt x="1775062" y="203485"/>
                </a:lnTo>
                <a:lnTo>
                  <a:pt x="1790731" y="203485"/>
                </a:lnTo>
                <a:lnTo>
                  <a:pt x="1790731" y="216902"/>
                </a:lnTo>
                <a:lnTo>
                  <a:pt x="1779539" y="216902"/>
                </a:lnTo>
                <a:lnTo>
                  <a:pt x="1774718" y="232554"/>
                </a:lnTo>
                <a:close/>
              </a:path>
              <a:path w="1791335" h="675640">
                <a:moveTo>
                  <a:pt x="1770585" y="245971"/>
                </a:moveTo>
                <a:lnTo>
                  <a:pt x="1761632" y="245971"/>
                </a:lnTo>
                <a:lnTo>
                  <a:pt x="1752678" y="216902"/>
                </a:lnTo>
                <a:lnTo>
                  <a:pt x="1761287" y="216902"/>
                </a:lnTo>
                <a:lnTo>
                  <a:pt x="1766108" y="232554"/>
                </a:lnTo>
                <a:lnTo>
                  <a:pt x="1774718" y="232554"/>
                </a:lnTo>
                <a:lnTo>
                  <a:pt x="1770585" y="245971"/>
                </a:lnTo>
                <a:close/>
              </a:path>
              <a:path w="1791335" h="675640">
                <a:moveTo>
                  <a:pt x="1790731" y="245971"/>
                </a:moveTo>
                <a:lnTo>
                  <a:pt x="1779539" y="245971"/>
                </a:lnTo>
                <a:lnTo>
                  <a:pt x="1779539" y="216902"/>
                </a:lnTo>
                <a:lnTo>
                  <a:pt x="1790731" y="216902"/>
                </a:lnTo>
                <a:lnTo>
                  <a:pt x="1790731" y="2459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 name="Subtitle 2"/>
          <p:cNvSpPr>
            <a:spLocks noGrp="1"/>
          </p:cNvSpPr>
          <p:nvPr>
            <p:ph type="subTitle" idx="1"/>
          </p:nvPr>
        </p:nvSpPr>
        <p:spPr>
          <a:xfrm>
            <a:off x="596348" y="3414411"/>
            <a:ext cx="9144000" cy="40011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254816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641979"/>
          </a:xfrm>
          <a:custGeom>
            <a:avLst/>
            <a:gdLst/>
            <a:ahLst/>
            <a:cxnLst/>
            <a:rect l="l" t="t" r="r" b="b"/>
            <a:pathLst>
              <a:path w="20104100" h="10953115">
                <a:moveTo>
                  <a:pt x="0" y="10952546"/>
                </a:moveTo>
                <a:lnTo>
                  <a:pt x="20104099" y="10952546"/>
                </a:lnTo>
                <a:lnTo>
                  <a:pt x="20104099" y="0"/>
                </a:lnTo>
                <a:lnTo>
                  <a:pt x="0" y="0"/>
                </a:lnTo>
                <a:lnTo>
                  <a:pt x="0" y="10952546"/>
                </a:lnTo>
                <a:close/>
              </a:path>
            </a:pathLst>
          </a:custGeom>
          <a:solidFill>
            <a:srgbClr val="253B53"/>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8604250" y="6588726"/>
            <a:ext cx="2743200" cy="138499"/>
          </a:xfrm>
        </p:spPr>
        <p:txBody>
          <a:bodyPr lIns="0" tIns="0" rIns="0" bIns="0"/>
          <a:lstStyle>
            <a:lvl1pPr algn="l">
              <a:defRPr>
                <a:solidFill>
                  <a:schemeClr val="tx1">
                    <a:tint val="75000"/>
                  </a:schemeClr>
                </a:solidFill>
              </a:defRPr>
            </a:lvl1pPr>
          </a:lstStyle>
          <a:p>
            <a:fld id="{1D8BD707-D9CF-40AE-B4C6-C98DA3205C09}" type="datetimeFigureOut">
              <a:rPr lang="en-US"/>
              <a:t>1/18/26</a:t>
            </a:fld>
            <a:endParaRPr lang="en-US"/>
          </a:p>
        </p:txBody>
      </p:sp>
      <p:sp>
        <p:nvSpPr>
          <p:cNvPr id="4" name="Holder 4"/>
          <p:cNvSpPr>
            <a:spLocks noGrp="1"/>
          </p:cNvSpPr>
          <p:nvPr>
            <p:ph type="sldNum" sz="quarter" idx="7"/>
          </p:nvPr>
        </p:nvSpPr>
        <p:spPr>
          <a:xfrm>
            <a:off x="11418888" y="6588726"/>
            <a:ext cx="368300" cy="138499"/>
          </a:xfr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879239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2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2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3.x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oleObject" Target="../embeddings/oleObject37.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ags" Target="../tags/tag39.xml"/><Relationship Id="rId2" Type="http://schemas.openxmlformats.org/officeDocument/2006/relationships/slideLayout" Target="../slideLayouts/slideLayout23.xml"/><Relationship Id="rId16" Type="http://schemas.openxmlformats.org/officeDocument/2006/relationships/theme" Target="../theme/theme4.xml"/><Relationship Id="rId20" Type="http://schemas.openxmlformats.org/officeDocument/2006/relationships/image" Target="../media/image2.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2.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image" Target="../media/image1.emf"/><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oleObject" Target="../embeddings/oleObject53.bin"/><Relationship Id="rId5" Type="http://schemas.openxmlformats.org/officeDocument/2006/relationships/slideLayout" Target="../slideLayouts/slideLayout41.xml"/><Relationship Id="rId10" Type="http://schemas.openxmlformats.org/officeDocument/2006/relationships/tags" Target="../tags/tag56.xml"/><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heme" Target="../theme/theme6.xml"/><Relationship Id="rId1" Type="http://schemas.openxmlformats.org/officeDocument/2006/relationships/slideLayout" Target="../slideLayouts/slideLayout4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oleObject" Target="../embeddings/oleObject1.bin"/><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ags" Target="../tags/tag73.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7.xml"/><Relationship Id="rId5" Type="http://schemas.openxmlformats.org/officeDocument/2006/relationships/slideLayout" Target="../slideLayouts/slideLayout50.xml"/><Relationship Id="rId15" Type="http://schemas.openxmlformats.org/officeDocument/2006/relationships/image" Target="../media/image2.png"/><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ags" Target="../tags/tag90.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8.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image" Target="../media/image2.pn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image" Target="../media/image1.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oleObject" Target="../embeddings/oleObject6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7" hidden="1">
            <a:extLst>
              <a:ext uri="{FF2B5EF4-FFF2-40B4-BE49-F238E27FC236}">
                <a16:creationId xmlns:a16="http://schemas.microsoft.com/office/drawing/2014/main" id="{BFD29981-45A6-F9E5-6908-4D172C743B68}"/>
              </a:ext>
            </a:extLst>
          </p:cNvPr>
          <p:cNvGraphicFramePr>
            <a:graphicFrameLocks noChangeAspect="1"/>
          </p:cNvGraphicFramePr>
          <p:nvPr>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2050" name="Object 7" hidden="1">
                        <a:extLst>
                          <a:ext uri="{FF2B5EF4-FFF2-40B4-BE49-F238E27FC236}">
                            <a16:creationId xmlns:a16="http://schemas.microsoft.com/office/drawing/2014/main" id="{BFD29981-45A6-F9E5-6908-4D172C743B6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object 2">
            <a:extLst>
              <a:ext uri="{FF2B5EF4-FFF2-40B4-BE49-F238E27FC236}">
                <a16:creationId xmlns:a16="http://schemas.microsoft.com/office/drawing/2014/main" id="{4038AF6F-CB25-D0FB-DEB1-E397FCAEB901}"/>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2" name="object 4">
            <a:extLst>
              <a:ext uri="{FF2B5EF4-FFF2-40B4-BE49-F238E27FC236}">
                <a16:creationId xmlns:a16="http://schemas.microsoft.com/office/drawing/2014/main" id="{9DB3E34B-538D-BE83-827D-F59B508A1CE2}"/>
              </a:ext>
            </a:extLst>
          </p:cNvPr>
          <p:cNvSpPr>
            <a:spLocks/>
          </p:cNvSpPr>
          <p:nvPr/>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3" name="object 6">
            <a:extLst>
              <a:ext uri="{FF2B5EF4-FFF2-40B4-BE49-F238E27FC236}">
                <a16:creationId xmlns:a16="http://schemas.microsoft.com/office/drawing/2014/main" id="{3EE6287C-AB0B-624D-F230-215098C4C7BA}"/>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4" name="Title Placeholder 1">
            <a:extLst>
              <a:ext uri="{FF2B5EF4-FFF2-40B4-BE49-F238E27FC236}">
                <a16:creationId xmlns:a16="http://schemas.microsoft.com/office/drawing/2014/main" id="{A9D23CAD-F5AF-1C45-F050-2DE39A3D07B4}"/>
              </a:ext>
            </a:extLst>
          </p:cNvPr>
          <p:cNvSpPr>
            <a:spLocks noGrp="1" noChangeArrowheads="1"/>
          </p:cNvSpPr>
          <p:nvPr>
            <p:ph type="title"/>
          </p:nvPr>
        </p:nvSpPr>
        <p:spPr bwMode="auto">
          <a:xfrm>
            <a:off x="600075" y="411163"/>
            <a:ext cx="104854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itle style</a:t>
            </a:r>
          </a:p>
        </p:txBody>
      </p:sp>
      <p:sp>
        <p:nvSpPr>
          <p:cNvPr id="2055" name="Text Placeholder 2">
            <a:extLst>
              <a:ext uri="{FF2B5EF4-FFF2-40B4-BE49-F238E27FC236}">
                <a16:creationId xmlns:a16="http://schemas.microsoft.com/office/drawing/2014/main" id="{A435E2CC-25E0-F23A-7B95-2F691AF7B911}"/>
              </a:ext>
            </a:extLst>
          </p:cNvPr>
          <p:cNvSpPr>
            <a:spLocks noGrp="1" noChangeArrowheads="1"/>
          </p:cNvSpPr>
          <p:nvPr>
            <p:ph type="body" idx="1"/>
          </p:nvPr>
        </p:nvSpPr>
        <p:spPr bwMode="auto">
          <a:xfrm>
            <a:off x="600075" y="1825625"/>
            <a:ext cx="10896600"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ext styles</a:t>
            </a:r>
          </a:p>
          <a:p>
            <a:pPr lvl="1"/>
            <a:r>
              <a:rPr lang="en-US" altLang="nb-NO"/>
              <a:t>Second level</a:t>
            </a:r>
          </a:p>
          <a:p>
            <a:pPr lvl="2"/>
            <a:r>
              <a:rPr lang="en-US" altLang="nb-NO"/>
              <a:t>Third level</a:t>
            </a:r>
          </a:p>
          <a:p>
            <a:pPr lvl="3"/>
            <a:r>
              <a:rPr lang="en-US" altLang="nb-NO"/>
              <a:t>Fourth level</a:t>
            </a:r>
          </a:p>
          <a:p>
            <a:pPr lvl="4"/>
            <a:r>
              <a:rPr lang="en-US" altLang="nb-NO"/>
              <a:t>Fifth level</a:t>
            </a:r>
          </a:p>
        </p:txBody>
      </p:sp>
      <p:sp>
        <p:nvSpPr>
          <p:cNvPr id="4" name="Date Placeholder 3">
            <a:extLst>
              <a:ext uri="{FF2B5EF4-FFF2-40B4-BE49-F238E27FC236}">
                <a16:creationId xmlns:a16="http://schemas.microsoft.com/office/drawing/2014/main" id="{A24DC6BF-B2D3-DEE5-A187-CE0F86D93CB4}"/>
              </a:ext>
            </a:extLst>
          </p:cNvPr>
          <p:cNvSpPr>
            <a:spLocks noGrp="1"/>
          </p:cNvSpPr>
          <p:nvPr>
            <p:ph type="dt" sz="half" idx="2"/>
          </p:nvPr>
        </p:nvSpPr>
        <p:spPr>
          <a:xfrm>
            <a:off x="8604250" y="6542088"/>
            <a:ext cx="2743200" cy="231775"/>
          </a:xfrm>
          <a:prstGeom prst="rect">
            <a:avLst/>
          </a:prstGeom>
        </p:spPr>
        <p:txBody>
          <a:bodyPr vert="horz" lIns="91440" tIns="45720" rIns="91440" bIns="45720" rtlCol="0" anchor="ctr">
            <a:spAutoFit/>
          </a:bodyPr>
          <a:lstStyle>
            <a:lvl1pPr algn="r" eaLnBrk="1" fontAlgn="auto" hangingPunct="1">
              <a:spcBef>
                <a:spcPts val="0"/>
              </a:spcBef>
              <a:spcAft>
                <a:spcPts val="0"/>
              </a:spcAft>
              <a:defRPr sz="900">
                <a:solidFill>
                  <a:schemeClr val="bg1"/>
                </a:solidFill>
                <a:latin typeface="+mn-lt"/>
              </a:defRPr>
            </a:lvl1pPr>
          </a:lstStyle>
          <a:p>
            <a:pPr>
              <a:defRPr/>
            </a:pPr>
            <a:fld id="{20BBB2E2-CC26-4239-A610-53654AB87668}" type="datetime1">
              <a:rPr lang="en-US"/>
              <a:pPr>
                <a:defRPr/>
              </a:pPr>
              <a:t>1/18/26</a:t>
            </a:fld>
            <a:endParaRPr lang="en-US"/>
          </a:p>
        </p:txBody>
      </p:sp>
      <p:sp>
        <p:nvSpPr>
          <p:cNvPr id="6" name="Slide Number Placeholder 5">
            <a:extLst>
              <a:ext uri="{FF2B5EF4-FFF2-40B4-BE49-F238E27FC236}">
                <a16:creationId xmlns:a16="http://schemas.microsoft.com/office/drawing/2014/main" id="{BDB6D88D-DE92-5387-0FE6-1FC0DFA84847}"/>
              </a:ext>
            </a:extLst>
          </p:cNvPr>
          <p:cNvSpPr>
            <a:spLocks noGrp="1"/>
          </p:cNvSpPr>
          <p:nvPr>
            <p:ph type="sldNum" sz="quarter" idx="4"/>
          </p:nvPr>
        </p:nvSpPr>
        <p:spPr>
          <a:xfrm>
            <a:off x="11418888" y="6542088"/>
            <a:ext cx="368300" cy="231775"/>
          </a:xfrm>
          <a:prstGeom prst="rect">
            <a:avLst/>
          </a:prstGeom>
        </p:spPr>
        <p:txBody>
          <a:bodyPr vert="horz"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fld id="{DEBAC383-E36A-489F-ADF8-C4D7B9AD7F0A}" type="slidenum">
              <a:rPr lang="en-US"/>
              <a:pPr>
                <a:defRPr/>
              </a:pPr>
              <a:t>‹#›</a:t>
            </a:fld>
            <a:endParaRPr lang="en-US"/>
          </a:p>
        </p:txBody>
      </p:sp>
      <p:grpSp>
        <p:nvGrpSpPr>
          <p:cNvPr id="2060" name="object 2">
            <a:extLst>
              <a:ext uri="{FF2B5EF4-FFF2-40B4-BE49-F238E27FC236}">
                <a16:creationId xmlns:a16="http://schemas.microsoft.com/office/drawing/2014/main" id="{29B32883-A8DC-5FD3-EC5C-5A22E516819B}"/>
              </a:ext>
            </a:extLst>
          </p:cNvPr>
          <p:cNvGrpSpPr>
            <a:grpSpLocks/>
          </p:cNvGrpSpPr>
          <p:nvPr/>
        </p:nvGrpSpPr>
        <p:grpSpPr bwMode="auto">
          <a:xfrm>
            <a:off x="11002963" y="-4763"/>
            <a:ext cx="1163637" cy="1343026"/>
            <a:chOff x="11002424" y="0"/>
            <a:chExt cx="1163955" cy="1342390"/>
          </a:xfrm>
        </p:grpSpPr>
        <p:sp>
          <p:nvSpPr>
            <p:cNvPr id="2061" name="object 3">
              <a:extLst>
                <a:ext uri="{FF2B5EF4-FFF2-40B4-BE49-F238E27FC236}">
                  <a16:creationId xmlns:a16="http://schemas.microsoft.com/office/drawing/2014/main" id="{B4220D41-8895-14AE-18F8-8CDFF843E725}"/>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4">
              <a:extLst>
                <a:ext uri="{FF2B5EF4-FFF2-40B4-BE49-F238E27FC236}">
                  <a16:creationId xmlns:a16="http://schemas.microsoft.com/office/drawing/2014/main" id="{152AF013-71FB-2A6D-FFA2-AC465B10D3AB}"/>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Plassholder for bunntekst 1">
            <a:extLst>
              <a:ext uri="{FF2B5EF4-FFF2-40B4-BE49-F238E27FC236}">
                <a16:creationId xmlns:a16="http://schemas.microsoft.com/office/drawing/2014/main" id="{3DBC8526-6889-B9D2-E9A3-610B6084D353}"/>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815" r:id="rId9"/>
    <p:sldLayoutId id="2147483839" r:id="rId10"/>
  </p:sldLayoutIdLst>
  <p:hf hdr="0" dt="0"/>
  <p:txStyles>
    <p:titleStyle>
      <a:lvl1pPr algn="l" rtl="0" eaLnBrk="0" fontAlgn="base" hangingPunct="0">
        <a:lnSpc>
          <a:spcPct val="90000"/>
        </a:lnSpc>
        <a:spcBef>
          <a:spcPct val="0"/>
        </a:spcBef>
        <a:spcAft>
          <a:spcPct val="0"/>
        </a:spcAft>
        <a:defRPr sz="2800"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2pPr>
      <a:lvl3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3pPr>
      <a:lvl4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4pPr>
      <a:lvl5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5pPr>
      <a:lvl6pPr marL="457200" algn="l" rtl="0" fontAlgn="base">
        <a:lnSpc>
          <a:spcPct val="90000"/>
        </a:lnSpc>
        <a:spcBef>
          <a:spcPct val="0"/>
        </a:spcBef>
        <a:spcAft>
          <a:spcPct val="0"/>
        </a:spcAft>
        <a:defRPr sz="2800">
          <a:solidFill>
            <a:schemeClr val="accent1"/>
          </a:solidFill>
          <a:latin typeface="Arial" panose="020B0604020202020204" pitchFamily="34" charset="0"/>
        </a:defRPr>
      </a:lvl6pPr>
      <a:lvl7pPr marL="914400" algn="l" rtl="0" fontAlgn="base">
        <a:lnSpc>
          <a:spcPct val="90000"/>
        </a:lnSpc>
        <a:spcBef>
          <a:spcPct val="0"/>
        </a:spcBef>
        <a:spcAft>
          <a:spcPct val="0"/>
        </a:spcAft>
        <a:defRPr sz="2800">
          <a:solidFill>
            <a:schemeClr val="accent1"/>
          </a:solidFill>
          <a:latin typeface="Arial" panose="020B0604020202020204" pitchFamily="34" charset="0"/>
        </a:defRPr>
      </a:lvl7pPr>
      <a:lvl8pPr marL="1371600" algn="l" rtl="0" fontAlgn="base">
        <a:lnSpc>
          <a:spcPct val="90000"/>
        </a:lnSpc>
        <a:spcBef>
          <a:spcPct val="0"/>
        </a:spcBef>
        <a:spcAft>
          <a:spcPct val="0"/>
        </a:spcAft>
        <a:defRPr sz="2800">
          <a:solidFill>
            <a:schemeClr val="accent1"/>
          </a:solidFill>
          <a:latin typeface="Arial" panose="020B0604020202020204" pitchFamily="34" charset="0"/>
        </a:defRPr>
      </a:lvl8pPr>
      <a:lvl9pPr marL="1828800" algn="l" rtl="0" fontAlgn="base">
        <a:lnSpc>
          <a:spcPct val="90000"/>
        </a:lnSpc>
        <a:spcBef>
          <a:spcPct val="0"/>
        </a:spcBef>
        <a:spcAft>
          <a:spcPct val="0"/>
        </a:spcAft>
        <a:defRPr sz="2800">
          <a:solidFill>
            <a:schemeClr val="accent1"/>
          </a:solidFill>
          <a:latin typeface="Arial" panose="020B0604020202020204" pitchFamily="34" charset="0"/>
        </a:defRPr>
      </a:lvl9pPr>
    </p:titleStyle>
    <p:bodyStyle>
      <a:lvl1pPr marL="357188" indent="-357188" algn="l" rtl="0" eaLnBrk="0" fontAlgn="base" hangingPunct="0">
        <a:spcBef>
          <a:spcPts val="800"/>
        </a:spcBef>
        <a:spcAft>
          <a:spcPct val="0"/>
        </a:spcAft>
        <a:buBlip>
          <a:blip r:embed="rId15"/>
        </a:buBlip>
        <a:defRPr sz="1600" kern="1200">
          <a:solidFill>
            <a:schemeClr val="bg1"/>
          </a:solidFill>
          <a:latin typeface="+mn-lt"/>
          <a:ea typeface="+mn-ea"/>
          <a:cs typeface="+mn-cs"/>
        </a:defRPr>
      </a:lvl1pPr>
      <a:lvl2pPr marL="715963"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2pPr>
      <a:lvl3pPr marL="1077913" indent="-361950"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3pPr>
      <a:lvl4pPr marL="1435100" indent="-357188"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4pPr>
      <a:lvl5pPr marL="1793875"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7" hidden="1">
            <a:extLst>
              <a:ext uri="{FF2B5EF4-FFF2-40B4-BE49-F238E27FC236}">
                <a16:creationId xmlns:a16="http://schemas.microsoft.com/office/drawing/2014/main" id="{E7BF4F36-3423-5748-99D3-814B81A199EF}"/>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050" name="Object 7" hidden="1">
                        <a:extLst>
                          <a:ext uri="{FF2B5EF4-FFF2-40B4-BE49-F238E27FC236}">
                            <a16:creationId xmlns:a16="http://schemas.microsoft.com/office/drawing/2014/main" id="{E7BF4F36-3423-5748-99D3-814B81A199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object 2">
            <a:extLst>
              <a:ext uri="{FF2B5EF4-FFF2-40B4-BE49-F238E27FC236}">
                <a16:creationId xmlns:a16="http://schemas.microsoft.com/office/drawing/2014/main" id="{FD741FF6-921F-C995-8FC5-0298E39E2625}"/>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2" name="object 4">
            <a:extLst>
              <a:ext uri="{FF2B5EF4-FFF2-40B4-BE49-F238E27FC236}">
                <a16:creationId xmlns:a16="http://schemas.microsoft.com/office/drawing/2014/main" id="{1C79F973-AAB4-F552-7270-B95424486DBB}"/>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3" name="object 6">
            <a:extLst>
              <a:ext uri="{FF2B5EF4-FFF2-40B4-BE49-F238E27FC236}">
                <a16:creationId xmlns:a16="http://schemas.microsoft.com/office/drawing/2014/main" id="{3C9EC937-4110-F726-844D-583729FB85B7}"/>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4" name="Title Placeholder 1">
            <a:extLst>
              <a:ext uri="{FF2B5EF4-FFF2-40B4-BE49-F238E27FC236}">
                <a16:creationId xmlns:a16="http://schemas.microsoft.com/office/drawing/2014/main" id="{A07B748D-BB6A-DE1B-6380-3FBBDAA6F985}"/>
              </a:ext>
            </a:extLst>
          </p:cNvPr>
          <p:cNvSpPr>
            <a:spLocks noGrp="1" noChangeArrowheads="1"/>
          </p:cNvSpPr>
          <p:nvPr>
            <p:ph type="title"/>
          </p:nvPr>
        </p:nvSpPr>
        <p:spPr bwMode="auto">
          <a:xfrm>
            <a:off x="600075" y="411163"/>
            <a:ext cx="104854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itle style</a:t>
            </a:r>
          </a:p>
        </p:txBody>
      </p:sp>
      <p:sp>
        <p:nvSpPr>
          <p:cNvPr id="2055" name="Text Placeholder 2">
            <a:extLst>
              <a:ext uri="{FF2B5EF4-FFF2-40B4-BE49-F238E27FC236}">
                <a16:creationId xmlns:a16="http://schemas.microsoft.com/office/drawing/2014/main" id="{ADAC9839-8419-9D50-F5E4-321882E19635}"/>
              </a:ext>
            </a:extLst>
          </p:cNvPr>
          <p:cNvSpPr>
            <a:spLocks noGrp="1" noChangeArrowheads="1"/>
          </p:cNvSpPr>
          <p:nvPr>
            <p:ph type="body" idx="1"/>
          </p:nvPr>
        </p:nvSpPr>
        <p:spPr bwMode="auto">
          <a:xfrm>
            <a:off x="600075" y="1825625"/>
            <a:ext cx="10896600"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ext styles</a:t>
            </a:r>
          </a:p>
          <a:p>
            <a:pPr lvl="1"/>
            <a:r>
              <a:rPr lang="en-US" altLang="nb-NO"/>
              <a:t>Second level</a:t>
            </a:r>
          </a:p>
          <a:p>
            <a:pPr lvl="2"/>
            <a:r>
              <a:rPr lang="en-US" altLang="nb-NO"/>
              <a:t>Third level</a:t>
            </a:r>
          </a:p>
          <a:p>
            <a:pPr lvl="3"/>
            <a:r>
              <a:rPr lang="en-US" altLang="nb-NO"/>
              <a:t>Fourth level</a:t>
            </a:r>
          </a:p>
          <a:p>
            <a:pPr lvl="4"/>
            <a:r>
              <a:rPr lang="en-US" altLang="nb-NO"/>
              <a:t>Fifth level</a:t>
            </a:r>
          </a:p>
        </p:txBody>
      </p:sp>
      <p:sp>
        <p:nvSpPr>
          <p:cNvPr id="4" name="Date Placeholder 3">
            <a:extLst>
              <a:ext uri="{FF2B5EF4-FFF2-40B4-BE49-F238E27FC236}">
                <a16:creationId xmlns:a16="http://schemas.microsoft.com/office/drawing/2014/main" id="{63DC9A07-6D7B-2E8B-F3FC-ECF2C1EA357A}"/>
              </a:ext>
            </a:extLst>
          </p:cNvPr>
          <p:cNvSpPr>
            <a:spLocks noGrp="1"/>
          </p:cNvSpPr>
          <p:nvPr>
            <p:ph type="dt" sz="half" idx="2"/>
          </p:nvPr>
        </p:nvSpPr>
        <p:spPr>
          <a:xfrm>
            <a:off x="8604250" y="6542088"/>
            <a:ext cx="2743200" cy="231775"/>
          </a:xfrm>
          <a:prstGeom prst="rect">
            <a:avLst/>
          </a:prstGeom>
        </p:spPr>
        <p:txBody>
          <a:bodyPr vert="horz" lIns="91440" tIns="45720" rIns="91440" bIns="45720" rtlCol="0" anchor="ctr">
            <a:spAutoFit/>
          </a:bodyPr>
          <a:lstStyle>
            <a:lvl1pPr algn="r" eaLnBrk="1" fontAlgn="auto" hangingPunct="1">
              <a:spcBef>
                <a:spcPts val="0"/>
              </a:spcBef>
              <a:spcAft>
                <a:spcPts val="0"/>
              </a:spcAft>
              <a:defRPr sz="900">
                <a:solidFill>
                  <a:schemeClr val="bg1"/>
                </a:solidFill>
                <a:latin typeface="+mn-lt"/>
              </a:defRPr>
            </a:lvl1pPr>
          </a:lstStyle>
          <a:p>
            <a:pPr>
              <a:defRPr/>
            </a:pPr>
            <a:fld id="{30B47C29-5C6F-471E-95F7-1F63A885DBDF}" type="datetime1">
              <a:rPr lang="en-US"/>
              <a:pPr>
                <a:defRPr/>
              </a:pPr>
              <a:t>1/18/26</a:t>
            </a:fld>
            <a:endParaRPr lang="en-US"/>
          </a:p>
        </p:txBody>
      </p:sp>
      <p:sp>
        <p:nvSpPr>
          <p:cNvPr id="5" name="Footer Placeholder 4">
            <a:extLst>
              <a:ext uri="{FF2B5EF4-FFF2-40B4-BE49-F238E27FC236}">
                <a16:creationId xmlns:a16="http://schemas.microsoft.com/office/drawing/2014/main" id="{2163122D-2A06-F084-4481-4DD3FC781BF7}"/>
              </a:ext>
            </a:extLst>
          </p:cNvPr>
          <p:cNvSpPr>
            <a:spLocks noGrp="1"/>
          </p:cNvSpPr>
          <p:nvPr>
            <p:ph type="ftr" sz="quarter" idx="3"/>
          </p:nvPr>
        </p:nvSpPr>
        <p:spPr>
          <a:xfrm>
            <a:off x="1530350" y="6542088"/>
            <a:ext cx="4464050" cy="231775"/>
          </a:xfrm>
          <a:prstGeom prst="rect">
            <a:avLst/>
          </a:prstGeom>
        </p:spPr>
        <p:txBody>
          <a:bodyPr vert="horz" wrap="square"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r>
              <a:rPr lang="en-US"/>
              <a:t>Document title or footer</a:t>
            </a:r>
          </a:p>
        </p:txBody>
      </p:sp>
      <p:sp>
        <p:nvSpPr>
          <p:cNvPr id="6" name="Slide Number Placeholder 5">
            <a:extLst>
              <a:ext uri="{FF2B5EF4-FFF2-40B4-BE49-F238E27FC236}">
                <a16:creationId xmlns:a16="http://schemas.microsoft.com/office/drawing/2014/main" id="{F82E6E1F-24B7-3933-C4E4-33F0C227BF57}"/>
              </a:ext>
            </a:extLst>
          </p:cNvPr>
          <p:cNvSpPr>
            <a:spLocks noGrp="1"/>
          </p:cNvSpPr>
          <p:nvPr>
            <p:ph type="sldNum" sz="quarter" idx="4"/>
          </p:nvPr>
        </p:nvSpPr>
        <p:spPr>
          <a:xfrm>
            <a:off x="11418888" y="6542088"/>
            <a:ext cx="368300" cy="231775"/>
          </a:xfrm>
          <a:prstGeom prst="rect">
            <a:avLst/>
          </a:prstGeom>
        </p:spPr>
        <p:txBody>
          <a:bodyPr vert="horz"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fld id="{852CAB9C-DF0A-48F4-9927-FA079AB5108C}" type="slidenum">
              <a:rPr lang="en-US"/>
              <a:pPr>
                <a:defRPr/>
              </a:pPr>
              <a:t>‹#›</a:t>
            </a:fld>
            <a:endParaRPr lang="en-US"/>
          </a:p>
        </p:txBody>
      </p:sp>
      <p:grpSp>
        <p:nvGrpSpPr>
          <p:cNvPr id="2060" name="object 2">
            <a:extLst>
              <a:ext uri="{FF2B5EF4-FFF2-40B4-BE49-F238E27FC236}">
                <a16:creationId xmlns:a16="http://schemas.microsoft.com/office/drawing/2014/main" id="{C6E0254E-7FC4-7BB1-D9CF-67290418E02D}"/>
              </a:ext>
            </a:extLst>
          </p:cNvPr>
          <p:cNvGrpSpPr>
            <a:grpSpLocks/>
          </p:cNvGrpSpPr>
          <p:nvPr/>
        </p:nvGrpSpPr>
        <p:grpSpPr bwMode="auto">
          <a:xfrm>
            <a:off x="11002963" y="-4763"/>
            <a:ext cx="1163637" cy="1343026"/>
            <a:chOff x="11002424" y="0"/>
            <a:chExt cx="1163955" cy="1342390"/>
          </a:xfrm>
        </p:grpSpPr>
        <p:sp>
          <p:nvSpPr>
            <p:cNvPr id="2061" name="object 3">
              <a:extLst>
                <a:ext uri="{FF2B5EF4-FFF2-40B4-BE49-F238E27FC236}">
                  <a16:creationId xmlns:a16="http://schemas.microsoft.com/office/drawing/2014/main" id="{3DE950DD-D464-9AC6-6924-2F683756440E}"/>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4">
              <a:extLst>
                <a:ext uri="{FF2B5EF4-FFF2-40B4-BE49-F238E27FC236}">
                  <a16:creationId xmlns:a16="http://schemas.microsoft.com/office/drawing/2014/main" id="{BF0D0DEB-5122-091B-85BD-626197FE3EB1}"/>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Plassholder for bunntekst 1">
            <a:extLst>
              <a:ext uri="{FF2B5EF4-FFF2-40B4-BE49-F238E27FC236}">
                <a16:creationId xmlns:a16="http://schemas.microsoft.com/office/drawing/2014/main" id="{22D70077-7999-0B49-3632-17346EAE9CD1}"/>
              </a:ext>
            </a:extLst>
          </p:cNvPr>
          <p:cNvSpPr txBox="1">
            <a:spLocks/>
          </p:cNvSpPr>
          <p:nvPr userDrawn="1"/>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cSld>
  <p:clrMap bg1="lt1" tx1="dk1" bg2="lt2" tx2="dk2" accent1="accent1" accent2="accent2" accent3="accent3" accent4="accent4" accent5="accent5" accent6="accent6" hlink="hlink" folHlink="folHlink"/>
  <p:sldLayoutIdLst>
    <p:sldLayoutId id="2147483785" r:id="rId1"/>
  </p:sldLayoutIdLst>
  <p:hf hdr="0" dt="0"/>
  <p:txStyles>
    <p:titleStyle>
      <a:lvl1pPr algn="l" rtl="0" eaLnBrk="0" fontAlgn="base" hangingPunct="0">
        <a:lnSpc>
          <a:spcPct val="90000"/>
        </a:lnSpc>
        <a:spcBef>
          <a:spcPct val="0"/>
        </a:spcBef>
        <a:spcAft>
          <a:spcPct val="0"/>
        </a:spcAft>
        <a:defRPr sz="2800"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2pPr>
      <a:lvl3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3pPr>
      <a:lvl4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4pPr>
      <a:lvl5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5pPr>
      <a:lvl6pPr marL="457200" algn="l" rtl="0" fontAlgn="base">
        <a:lnSpc>
          <a:spcPct val="90000"/>
        </a:lnSpc>
        <a:spcBef>
          <a:spcPct val="0"/>
        </a:spcBef>
        <a:spcAft>
          <a:spcPct val="0"/>
        </a:spcAft>
        <a:defRPr sz="2800">
          <a:solidFill>
            <a:schemeClr val="accent1"/>
          </a:solidFill>
          <a:latin typeface="Arial" panose="020B0604020202020204" pitchFamily="34" charset="0"/>
        </a:defRPr>
      </a:lvl6pPr>
      <a:lvl7pPr marL="914400" algn="l" rtl="0" fontAlgn="base">
        <a:lnSpc>
          <a:spcPct val="90000"/>
        </a:lnSpc>
        <a:spcBef>
          <a:spcPct val="0"/>
        </a:spcBef>
        <a:spcAft>
          <a:spcPct val="0"/>
        </a:spcAft>
        <a:defRPr sz="2800">
          <a:solidFill>
            <a:schemeClr val="accent1"/>
          </a:solidFill>
          <a:latin typeface="Arial" panose="020B0604020202020204" pitchFamily="34" charset="0"/>
        </a:defRPr>
      </a:lvl7pPr>
      <a:lvl8pPr marL="1371600" algn="l" rtl="0" fontAlgn="base">
        <a:lnSpc>
          <a:spcPct val="90000"/>
        </a:lnSpc>
        <a:spcBef>
          <a:spcPct val="0"/>
        </a:spcBef>
        <a:spcAft>
          <a:spcPct val="0"/>
        </a:spcAft>
        <a:defRPr sz="2800">
          <a:solidFill>
            <a:schemeClr val="accent1"/>
          </a:solidFill>
          <a:latin typeface="Arial" panose="020B0604020202020204" pitchFamily="34" charset="0"/>
        </a:defRPr>
      </a:lvl8pPr>
      <a:lvl9pPr marL="1828800" algn="l" rtl="0" fontAlgn="base">
        <a:lnSpc>
          <a:spcPct val="90000"/>
        </a:lnSpc>
        <a:spcBef>
          <a:spcPct val="0"/>
        </a:spcBef>
        <a:spcAft>
          <a:spcPct val="0"/>
        </a:spcAft>
        <a:defRPr sz="2800">
          <a:solidFill>
            <a:schemeClr val="accent1"/>
          </a:solidFill>
          <a:latin typeface="Arial" panose="020B0604020202020204" pitchFamily="34" charset="0"/>
        </a:defRPr>
      </a:lvl9pPr>
    </p:titleStyle>
    <p:bodyStyle>
      <a:lvl1pPr marL="357188" indent="-357188" algn="l" rtl="0" eaLnBrk="0" fontAlgn="base" hangingPunct="0">
        <a:spcBef>
          <a:spcPts val="800"/>
        </a:spcBef>
        <a:spcAft>
          <a:spcPct val="0"/>
        </a:spcAft>
        <a:buBlip>
          <a:blip r:embed="rId6"/>
        </a:buBlip>
        <a:defRPr sz="1600" kern="1200">
          <a:solidFill>
            <a:schemeClr val="bg1"/>
          </a:solidFill>
          <a:latin typeface="+mn-lt"/>
          <a:ea typeface="+mn-ea"/>
          <a:cs typeface="+mn-cs"/>
        </a:defRPr>
      </a:lvl1pPr>
      <a:lvl2pPr marL="715963"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2pPr>
      <a:lvl3pPr marL="1077913" indent="-361950"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3pPr>
      <a:lvl4pPr marL="1435100" indent="-357188"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4pPr>
      <a:lvl5pPr marL="1793875"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7" hidden="1">
            <a:extLst>
              <a:ext uri="{FF2B5EF4-FFF2-40B4-BE49-F238E27FC236}">
                <a16:creationId xmlns:a16="http://schemas.microsoft.com/office/drawing/2014/main" id="{5D2584BF-BE9B-D824-9899-6241FE63AE04}"/>
              </a:ext>
            </a:extLst>
          </p:cNvPr>
          <p:cNvGraphicFramePr>
            <a:graphicFrameLocks noChangeAspect="1"/>
          </p:cNvGraphicFramePr>
          <p:nvPr>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1026" name="Object 7" hidden="1">
                        <a:extLst>
                          <a:ext uri="{FF2B5EF4-FFF2-40B4-BE49-F238E27FC236}">
                            <a16:creationId xmlns:a16="http://schemas.microsoft.com/office/drawing/2014/main" id="{5D2584BF-BE9B-D824-9899-6241FE63AE0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object 4">
            <a:extLst>
              <a:ext uri="{FF2B5EF4-FFF2-40B4-BE49-F238E27FC236}">
                <a16:creationId xmlns:a16="http://schemas.microsoft.com/office/drawing/2014/main" id="{C8265C68-CFA5-BC70-EFF2-3BFF23F90ED3}"/>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28" name="object 6">
            <a:extLst>
              <a:ext uri="{FF2B5EF4-FFF2-40B4-BE49-F238E27FC236}">
                <a16:creationId xmlns:a16="http://schemas.microsoft.com/office/drawing/2014/main" id="{BF7549B0-EEE8-E915-8727-7F9F5866C9CE}"/>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29" name="Title Placeholder 1">
            <a:extLst>
              <a:ext uri="{FF2B5EF4-FFF2-40B4-BE49-F238E27FC236}">
                <a16:creationId xmlns:a16="http://schemas.microsoft.com/office/drawing/2014/main" id="{73C0FAB1-1C23-D86E-C8D5-1E0671671654}"/>
              </a:ext>
            </a:extLst>
          </p:cNvPr>
          <p:cNvSpPr>
            <a:spLocks noGrp="1" noChangeArrowheads="1"/>
          </p:cNvSpPr>
          <p:nvPr>
            <p:ph type="title"/>
          </p:nvPr>
        </p:nvSpPr>
        <p:spPr bwMode="auto">
          <a:xfrm>
            <a:off x="600075" y="409575"/>
            <a:ext cx="10493375"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itle style</a:t>
            </a:r>
          </a:p>
        </p:txBody>
      </p:sp>
      <p:sp>
        <p:nvSpPr>
          <p:cNvPr id="1030" name="Text Placeholder 2">
            <a:extLst>
              <a:ext uri="{FF2B5EF4-FFF2-40B4-BE49-F238E27FC236}">
                <a16:creationId xmlns:a16="http://schemas.microsoft.com/office/drawing/2014/main" id="{94EB7057-0273-9D55-2306-19B37BFE1976}"/>
              </a:ext>
            </a:extLst>
          </p:cNvPr>
          <p:cNvSpPr>
            <a:spLocks noGrp="1" noChangeArrowheads="1"/>
          </p:cNvSpPr>
          <p:nvPr>
            <p:ph type="body" idx="1"/>
          </p:nvPr>
        </p:nvSpPr>
        <p:spPr bwMode="auto">
          <a:xfrm>
            <a:off x="600075" y="1825625"/>
            <a:ext cx="10896600"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ext styles</a:t>
            </a:r>
          </a:p>
          <a:p>
            <a:pPr lvl="1"/>
            <a:r>
              <a:rPr lang="en-US" altLang="nb-NO"/>
              <a:t>Second level</a:t>
            </a:r>
          </a:p>
          <a:p>
            <a:pPr lvl="2"/>
            <a:r>
              <a:rPr lang="en-US" altLang="nb-NO"/>
              <a:t>Third level</a:t>
            </a:r>
          </a:p>
          <a:p>
            <a:pPr lvl="3"/>
            <a:r>
              <a:rPr lang="en-US" altLang="nb-NO"/>
              <a:t>Fourth level</a:t>
            </a:r>
          </a:p>
          <a:p>
            <a:pPr lvl="4"/>
            <a:r>
              <a:rPr lang="en-US" altLang="nb-NO"/>
              <a:t>Fifth level</a:t>
            </a:r>
          </a:p>
        </p:txBody>
      </p:sp>
      <p:sp>
        <p:nvSpPr>
          <p:cNvPr id="4" name="Date Placeholder 3">
            <a:extLst>
              <a:ext uri="{FF2B5EF4-FFF2-40B4-BE49-F238E27FC236}">
                <a16:creationId xmlns:a16="http://schemas.microsoft.com/office/drawing/2014/main" id="{7DB9C064-B5B3-E078-F816-205154C30549}"/>
              </a:ext>
            </a:extLst>
          </p:cNvPr>
          <p:cNvSpPr>
            <a:spLocks noGrp="1"/>
          </p:cNvSpPr>
          <p:nvPr>
            <p:ph type="dt" sz="half" idx="2"/>
          </p:nvPr>
        </p:nvSpPr>
        <p:spPr>
          <a:xfrm>
            <a:off x="8604250" y="6542088"/>
            <a:ext cx="2743200" cy="231775"/>
          </a:xfrm>
          <a:prstGeom prst="rect">
            <a:avLst/>
          </a:prstGeom>
        </p:spPr>
        <p:txBody>
          <a:bodyPr vert="horz" lIns="91440" tIns="45720" rIns="91440" bIns="45720" rtlCol="0" anchor="ctr">
            <a:spAutoFit/>
          </a:bodyPr>
          <a:lstStyle>
            <a:lvl1pPr algn="r" eaLnBrk="1" fontAlgn="auto" hangingPunct="1">
              <a:spcBef>
                <a:spcPts val="0"/>
              </a:spcBef>
              <a:spcAft>
                <a:spcPts val="0"/>
              </a:spcAft>
              <a:defRPr sz="900">
                <a:solidFill>
                  <a:schemeClr val="bg1"/>
                </a:solidFill>
                <a:latin typeface="+mn-lt"/>
              </a:defRPr>
            </a:lvl1pPr>
          </a:lstStyle>
          <a:p>
            <a:pPr>
              <a:defRPr/>
            </a:pPr>
            <a:fld id="{E7F08B84-9494-4218-BBB1-25BB325D8DED}" type="datetime1">
              <a:rPr lang="en-US"/>
              <a:pPr>
                <a:defRPr/>
              </a:pPr>
              <a:t>1/18/26</a:t>
            </a:fld>
            <a:endParaRPr lang="en-US"/>
          </a:p>
        </p:txBody>
      </p:sp>
      <p:sp>
        <p:nvSpPr>
          <p:cNvPr id="5" name="Footer Placeholder 4">
            <a:extLst>
              <a:ext uri="{FF2B5EF4-FFF2-40B4-BE49-F238E27FC236}">
                <a16:creationId xmlns:a16="http://schemas.microsoft.com/office/drawing/2014/main" id="{DD2D8662-E378-7497-AAD0-CB90F39C9208}"/>
              </a:ext>
            </a:extLst>
          </p:cNvPr>
          <p:cNvSpPr>
            <a:spLocks noGrp="1"/>
          </p:cNvSpPr>
          <p:nvPr>
            <p:ph type="ftr" sz="quarter" idx="3"/>
          </p:nvPr>
        </p:nvSpPr>
        <p:spPr>
          <a:xfrm>
            <a:off x="1530350" y="6542088"/>
            <a:ext cx="4464050" cy="231775"/>
          </a:xfrm>
          <a:prstGeom prst="rect">
            <a:avLst/>
          </a:prstGeom>
        </p:spPr>
        <p:txBody>
          <a:bodyPr vert="horz" wrap="square"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r>
              <a:rPr lang="en-US"/>
              <a:t>Document title or footer</a:t>
            </a:r>
          </a:p>
        </p:txBody>
      </p:sp>
      <p:sp>
        <p:nvSpPr>
          <p:cNvPr id="6" name="Slide Number Placeholder 5">
            <a:extLst>
              <a:ext uri="{FF2B5EF4-FFF2-40B4-BE49-F238E27FC236}">
                <a16:creationId xmlns:a16="http://schemas.microsoft.com/office/drawing/2014/main" id="{214B7845-4D15-9035-C57C-B6B705E1CA63}"/>
              </a:ext>
            </a:extLst>
          </p:cNvPr>
          <p:cNvSpPr>
            <a:spLocks noGrp="1"/>
          </p:cNvSpPr>
          <p:nvPr>
            <p:ph type="sldNum" sz="quarter" idx="4"/>
          </p:nvPr>
        </p:nvSpPr>
        <p:spPr>
          <a:xfrm>
            <a:off x="11418888" y="6542088"/>
            <a:ext cx="368300" cy="231775"/>
          </a:xfrm>
          <a:prstGeom prst="rect">
            <a:avLst/>
          </a:prstGeom>
        </p:spPr>
        <p:txBody>
          <a:bodyPr vert="horz"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fld id="{F472D2FC-F74C-4F7A-925F-1AD513B5A292}" type="slidenum">
              <a:rPr lang="en-US"/>
              <a:pPr>
                <a:defRPr/>
              </a:pPr>
              <a:t>‹#›</a:t>
            </a:fld>
            <a:endParaRPr lang="en-US"/>
          </a:p>
        </p:txBody>
      </p:sp>
      <p:grpSp>
        <p:nvGrpSpPr>
          <p:cNvPr id="1035" name="object 2">
            <a:extLst>
              <a:ext uri="{FF2B5EF4-FFF2-40B4-BE49-F238E27FC236}">
                <a16:creationId xmlns:a16="http://schemas.microsoft.com/office/drawing/2014/main" id="{70FB33EA-7A38-ABC3-4FC2-ACB321637FAE}"/>
              </a:ext>
            </a:extLst>
          </p:cNvPr>
          <p:cNvGrpSpPr>
            <a:grpSpLocks/>
          </p:cNvGrpSpPr>
          <p:nvPr/>
        </p:nvGrpSpPr>
        <p:grpSpPr bwMode="auto">
          <a:xfrm>
            <a:off x="11002963" y="-4763"/>
            <a:ext cx="1163637" cy="1343026"/>
            <a:chOff x="11002424" y="0"/>
            <a:chExt cx="1163955" cy="1342390"/>
          </a:xfrm>
        </p:grpSpPr>
        <p:sp>
          <p:nvSpPr>
            <p:cNvPr id="1036" name="object 3">
              <a:extLst>
                <a:ext uri="{FF2B5EF4-FFF2-40B4-BE49-F238E27FC236}">
                  <a16:creationId xmlns:a16="http://schemas.microsoft.com/office/drawing/2014/main" id="{77DD5883-7473-17C0-1079-5561A9A69955}"/>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4">
              <a:extLst>
                <a:ext uri="{FF2B5EF4-FFF2-40B4-BE49-F238E27FC236}">
                  <a16:creationId xmlns:a16="http://schemas.microsoft.com/office/drawing/2014/main" id="{A1845A98-6B2B-1AA4-B143-D0960090B126}"/>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Plassholder for bunntekst 1">
            <a:extLst>
              <a:ext uri="{FF2B5EF4-FFF2-40B4-BE49-F238E27FC236}">
                <a16:creationId xmlns:a16="http://schemas.microsoft.com/office/drawing/2014/main" id="{087A90EE-E19F-05E6-1579-1F1BDC28ED57}"/>
              </a:ext>
            </a:extLst>
          </p:cNvPr>
          <p:cNvSpPr txBox="1">
            <a:spLocks/>
          </p:cNvSpPr>
          <p:nvPr userDrawn="1"/>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380771206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hf hdr="0" dt="0"/>
  <p:txStyles>
    <p:titleStyle>
      <a:lvl1pPr algn="l" rtl="0" eaLnBrk="1" fontAlgn="base" hangingPunct="1">
        <a:lnSpc>
          <a:spcPct val="90000"/>
        </a:lnSpc>
        <a:spcBef>
          <a:spcPct val="0"/>
        </a:spcBef>
        <a:spcAft>
          <a:spcPct val="0"/>
        </a:spcAft>
        <a:defRPr sz="2800" kern="1200">
          <a:solidFill>
            <a:schemeClr val="accent1"/>
          </a:solidFill>
          <a:latin typeface="+mj-lt"/>
          <a:ea typeface="+mj-ea"/>
          <a:cs typeface="+mj-cs"/>
        </a:defRPr>
      </a:lvl1pPr>
      <a:lvl2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2pPr>
      <a:lvl3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3pPr>
      <a:lvl4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4pPr>
      <a:lvl5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5pPr>
      <a:lvl6pPr marL="4572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6pPr>
      <a:lvl7pPr marL="9144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7pPr>
      <a:lvl8pPr marL="13716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8pPr>
      <a:lvl9pPr marL="18288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9pPr>
    </p:titleStyle>
    <p:bodyStyle>
      <a:lvl1pPr marL="357188" indent="-357188" algn="l" rtl="0" eaLnBrk="1" fontAlgn="base" hangingPunct="1">
        <a:spcBef>
          <a:spcPts val="800"/>
        </a:spcBef>
        <a:spcAft>
          <a:spcPct val="0"/>
        </a:spcAft>
        <a:buBlip>
          <a:blip r:embed="rId15"/>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9565D-765A-4369-86D9-D6D71C76DFFD}"/>
              </a:ext>
            </a:extLst>
          </p:cNvPr>
          <p:cNvGraphicFramePr>
            <a:graphicFrameLocks noChangeAspect="1"/>
          </p:cNvGraphicFramePr>
          <p:nvPr userDrawn="1">
            <p:custDataLst>
              <p:tags r:id="rId17"/>
            </p:custDataLst>
            <p:extLst>
              <p:ext uri="{D42A27DB-BD31-4B8C-83A1-F6EECF244321}">
                <p14:modId xmlns:p14="http://schemas.microsoft.com/office/powerpoint/2010/main" val="2416767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69" imgH="375" progId="TCLayout.ActiveDocument.1">
                  <p:embed/>
                </p:oleObj>
              </mc:Choice>
              <mc:Fallback>
                <p:oleObj name="think-cell Slide" r:id="rId18" imgW="369" imgH="375" progId="TCLayout.ActiveDocument.1">
                  <p:embed/>
                  <p:pic>
                    <p:nvPicPr>
                      <p:cNvPr id="8" name="Object 7" hidden="1">
                        <a:extLst>
                          <a:ext uri="{FF2B5EF4-FFF2-40B4-BE49-F238E27FC236}">
                            <a16:creationId xmlns:a16="http://schemas.microsoft.com/office/drawing/2014/main" id="{F419565D-765A-4369-86D9-D6D71C76DFF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1" name="object 4">
            <a:extLst>
              <a:ext uri="{FF2B5EF4-FFF2-40B4-BE49-F238E27FC236}">
                <a16:creationId xmlns:a16="http://schemas.microsoft.com/office/drawing/2014/main" id="{A0D17701-DB7D-4952-A327-9E562AD78B44}"/>
              </a:ext>
            </a:extLst>
          </p:cNvPr>
          <p:cNvSpPr/>
          <p:nvPr userDrawn="1"/>
        </p:nvSpPr>
        <p:spPr>
          <a:xfrm>
            <a:off x="0" y="6341177"/>
            <a:ext cx="12192000" cy="541020"/>
          </a:xfrm>
          <a:custGeom>
            <a:avLst/>
            <a:gdLst/>
            <a:ahLst/>
            <a:cxnLst/>
            <a:rect l="l" t="t" r="r" b="b"/>
            <a:pathLst>
              <a:path w="12192000" h="541020">
                <a:moveTo>
                  <a:pt x="12192000" y="0"/>
                </a:moveTo>
                <a:lnTo>
                  <a:pt x="0" y="0"/>
                </a:lnTo>
                <a:lnTo>
                  <a:pt x="0" y="541020"/>
                </a:lnTo>
                <a:lnTo>
                  <a:pt x="12192000" y="541020"/>
                </a:lnTo>
                <a:lnTo>
                  <a:pt x="12192000" y="0"/>
                </a:lnTo>
                <a:close/>
              </a:path>
            </a:pathLst>
          </a:custGeom>
          <a:solidFill>
            <a:srgbClr val="364657"/>
          </a:solidFill>
        </p:spPr>
        <p:txBody>
          <a:bodyPr wrap="square" lIns="0" tIns="0" rIns="0" bIns="0" rtlCol="0"/>
          <a:lstStyle/>
          <a:p>
            <a:endParaRPr/>
          </a:p>
        </p:txBody>
      </p:sp>
      <p:sp>
        <p:nvSpPr>
          <p:cNvPr id="12" name="object 6">
            <a:extLst>
              <a:ext uri="{FF2B5EF4-FFF2-40B4-BE49-F238E27FC236}">
                <a16:creationId xmlns:a16="http://schemas.microsoft.com/office/drawing/2014/main" id="{7AAA184E-5A80-4CE3-9C7E-BC5917BC9237}"/>
              </a:ext>
            </a:extLst>
          </p:cNvPr>
          <p:cNvSpPr/>
          <p:nvPr userDrawn="1"/>
        </p:nvSpPr>
        <p:spPr>
          <a:xfrm>
            <a:off x="695325" y="6479258"/>
            <a:ext cx="634365" cy="240029"/>
          </a:xfrm>
          <a:custGeom>
            <a:avLst/>
            <a:gdLst/>
            <a:ahLst/>
            <a:cxnLst/>
            <a:rect l="l" t="t"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p:spPr>
        <p:txBody>
          <a:bodyPr wrap="square" lIns="0" tIns="0" rIns="0" bIns="0" rtlCol="0"/>
          <a:lstStyle/>
          <a:p>
            <a:endParaRPr/>
          </a:p>
        </p:txBody>
      </p:sp>
      <p:sp>
        <p:nvSpPr>
          <p:cNvPr id="2" name="Title Placeholder 1">
            <a:extLst>
              <a:ext uri="{FF2B5EF4-FFF2-40B4-BE49-F238E27FC236}">
                <a16:creationId xmlns:a16="http://schemas.microsoft.com/office/drawing/2014/main" id="{D4A6509A-A6B2-4121-90F2-F0A6BCB7CBB6}"/>
              </a:ext>
            </a:extLst>
          </p:cNvPr>
          <p:cNvSpPr>
            <a:spLocks noGrp="1"/>
          </p:cNvSpPr>
          <p:nvPr>
            <p:ph type="title"/>
          </p:nvPr>
        </p:nvSpPr>
        <p:spPr>
          <a:xfrm>
            <a:off x="599661" y="592280"/>
            <a:ext cx="10493674" cy="535531"/>
          </a:xfrm>
          <a:prstGeom prst="rect">
            <a:avLst/>
          </a:prstGeom>
        </p:spPr>
        <p:txBody>
          <a:bodyPr vert="horz" wrap="square" lIns="91440" tIns="45720" rIns="91440" bIns="4572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29DBA88A-0FCF-4042-9F41-07BA0A4266CD}"/>
              </a:ext>
            </a:extLst>
          </p:cNvPr>
          <p:cNvSpPr>
            <a:spLocks noGrp="1"/>
          </p:cNvSpPr>
          <p:nvPr>
            <p:ph type="body" idx="1"/>
          </p:nvPr>
        </p:nvSpPr>
        <p:spPr>
          <a:xfrm>
            <a:off x="599661" y="1825625"/>
            <a:ext cx="10897014" cy="1733808"/>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E72E67-B5CC-48C5-A232-8B513A701DD7}"/>
              </a:ext>
            </a:extLst>
          </p:cNvPr>
          <p:cNvSpPr>
            <a:spLocks noGrp="1"/>
          </p:cNvSpPr>
          <p:nvPr>
            <p:ph type="dt" sz="half" idx="2"/>
          </p:nvPr>
        </p:nvSpPr>
        <p:spPr>
          <a:xfrm>
            <a:off x="8603974" y="6542763"/>
            <a:ext cx="2743200" cy="230832"/>
          </a:xfrm>
          <a:prstGeom prst="rect">
            <a:avLst/>
          </a:prstGeom>
        </p:spPr>
        <p:txBody>
          <a:bodyPr vert="horz" lIns="91440" tIns="45720" rIns="91440" bIns="45720" rtlCol="0" anchor="ctr">
            <a:spAutoFit/>
          </a:bodyPr>
          <a:lstStyle>
            <a:lvl1pPr algn="r">
              <a:defRPr sz="900">
                <a:solidFill>
                  <a:schemeClr val="bg1"/>
                </a:solidFill>
              </a:defRPr>
            </a:lvl1pPr>
          </a:lstStyle>
          <a:p>
            <a:pPr algn="r"/>
            <a:fld id="{ABE14992-60FC-4AFE-80D7-B5C0B0792A23}" type="datetime1">
              <a:rPr lang="en-US" smtClean="0"/>
              <a:t>1/18/26</a:t>
            </a:fld>
            <a:endParaRPr lang="en-US"/>
          </a:p>
        </p:txBody>
      </p:sp>
      <p:sp>
        <p:nvSpPr>
          <p:cNvPr id="5" name="Footer Placeholder 4">
            <a:extLst>
              <a:ext uri="{FF2B5EF4-FFF2-40B4-BE49-F238E27FC236}">
                <a16:creationId xmlns:a16="http://schemas.microsoft.com/office/drawing/2014/main" id="{08EC09A9-9B25-4D7E-8D92-D148E2992883}"/>
              </a:ext>
            </a:extLst>
          </p:cNvPr>
          <p:cNvSpPr>
            <a:spLocks noGrp="1"/>
          </p:cNvSpPr>
          <p:nvPr>
            <p:ph type="ftr" sz="quarter" idx="3"/>
          </p:nvPr>
        </p:nvSpPr>
        <p:spPr>
          <a:xfrm>
            <a:off x="1530627" y="6542763"/>
            <a:ext cx="4463774" cy="230832"/>
          </a:xfrm>
          <a:prstGeom prst="rect">
            <a:avLst/>
          </a:prstGeom>
        </p:spPr>
        <p:txBody>
          <a:bodyPr vert="horz" wrap="square" lIns="91440" tIns="45720" rIns="91440" bIns="45720" rtlCol="0" anchor="ctr">
            <a:spAutoFit/>
          </a:bodyPr>
          <a:lstStyle>
            <a:lvl1pPr algn="ctr">
              <a:defRPr sz="900">
                <a:solidFill>
                  <a:schemeClr val="bg1"/>
                </a:solidFill>
              </a:defRPr>
            </a:lvl1pPr>
          </a:lstStyle>
          <a:p>
            <a:pPr algn="l"/>
            <a:r>
              <a:rPr lang="en-US"/>
              <a:t>Document title or footer</a:t>
            </a:r>
          </a:p>
        </p:txBody>
      </p:sp>
      <p:sp>
        <p:nvSpPr>
          <p:cNvPr id="6" name="Slide Number Placeholder 5">
            <a:extLst>
              <a:ext uri="{FF2B5EF4-FFF2-40B4-BE49-F238E27FC236}">
                <a16:creationId xmlns:a16="http://schemas.microsoft.com/office/drawing/2014/main" id="{F67B5546-5893-4877-90A4-19191589E309}"/>
              </a:ext>
            </a:extLst>
          </p:cNvPr>
          <p:cNvSpPr>
            <a:spLocks noGrp="1"/>
          </p:cNvSpPr>
          <p:nvPr>
            <p:ph type="sldNum" sz="quarter" idx="4"/>
          </p:nvPr>
        </p:nvSpPr>
        <p:spPr>
          <a:xfrm>
            <a:off x="11418957" y="6542763"/>
            <a:ext cx="367748" cy="230832"/>
          </a:xfrm>
          <a:prstGeom prst="rect">
            <a:avLst/>
          </a:prstGeom>
        </p:spPr>
        <p:txBody>
          <a:bodyPr vert="horz" lIns="91440" tIns="45720" rIns="91440" bIns="45720" rtlCol="0" anchor="ctr">
            <a:spAutoFit/>
          </a:bodyPr>
          <a:lstStyle>
            <a:lvl1pPr algn="l">
              <a:defRPr sz="900">
                <a:solidFill>
                  <a:schemeClr val="bg1"/>
                </a:solidFill>
              </a:defRPr>
            </a:lvl1pPr>
          </a:lstStyle>
          <a:p>
            <a:pPr algn="l"/>
            <a:fld id="{50A6C693-FA55-4929-8F02-9C5C1D56A297}" type="slidenum">
              <a:rPr lang="en-US" smtClean="0"/>
              <a:pPr algn="l"/>
              <a:t>‹#›</a:t>
            </a:fld>
            <a:endParaRPr lang="en-US"/>
          </a:p>
        </p:txBody>
      </p:sp>
      <p:sp>
        <p:nvSpPr>
          <p:cNvPr id="24" name="TextBox 23">
            <a:extLst>
              <a:ext uri="{FF2B5EF4-FFF2-40B4-BE49-F238E27FC236}">
                <a16:creationId xmlns:a16="http://schemas.microsoft.com/office/drawing/2014/main" id="{E73BBECA-6FCD-4A7B-8C41-435205859EEA}"/>
              </a:ext>
            </a:extLst>
          </p:cNvPr>
          <p:cNvSpPr txBox="1"/>
          <p:nvPr userDrawn="1"/>
        </p:nvSpPr>
        <p:spPr>
          <a:xfrm>
            <a:off x="8055628" y="6542763"/>
            <a:ext cx="1646606" cy="230832"/>
          </a:xfrm>
          <a:prstGeom prst="rect">
            <a:avLst/>
          </a:prstGeom>
          <a:noFill/>
          <a:ln>
            <a:noFill/>
          </a:ln>
        </p:spPr>
        <p:txBody>
          <a:bodyPr wrap="none" rtlCol="0">
            <a:spAutoFit/>
          </a:bodyPr>
          <a:lstStyle/>
          <a:p>
            <a:pPr algn="ctr"/>
            <a:r>
              <a:rPr lang="en-US" sz="900">
                <a:solidFill>
                  <a:schemeClr val="bg1"/>
                </a:solidFill>
              </a:rPr>
              <a:t>CLASSIFICATION:</a:t>
            </a:r>
            <a:r>
              <a:rPr lang="en-US" sz="900">
                <a:solidFill>
                  <a:srgbClr val="FF0000"/>
                </a:solidFill>
              </a:rPr>
              <a:t> </a:t>
            </a:r>
            <a:r>
              <a:rPr lang="en-US" sz="900">
                <a:solidFill>
                  <a:schemeClr val="bg1"/>
                </a:solidFill>
              </a:rPr>
              <a:t>PUBLIC</a:t>
            </a:r>
          </a:p>
        </p:txBody>
      </p:sp>
      <p:grpSp>
        <p:nvGrpSpPr>
          <p:cNvPr id="13" name="object 2">
            <a:extLst>
              <a:ext uri="{FF2B5EF4-FFF2-40B4-BE49-F238E27FC236}">
                <a16:creationId xmlns:a16="http://schemas.microsoft.com/office/drawing/2014/main" id="{D2C4BBA6-270B-4E6B-AEF5-356BBD8D65AD}"/>
              </a:ext>
            </a:extLst>
          </p:cNvPr>
          <p:cNvGrpSpPr/>
          <p:nvPr userDrawn="1"/>
        </p:nvGrpSpPr>
        <p:grpSpPr>
          <a:xfrm>
            <a:off x="11002424" y="-4195"/>
            <a:ext cx="1163955" cy="1342390"/>
            <a:chOff x="11002424" y="0"/>
            <a:chExt cx="1163955" cy="1342390"/>
          </a:xfrm>
        </p:grpSpPr>
        <p:sp>
          <p:nvSpPr>
            <p:cNvPr id="14" name="object 3">
              <a:extLst>
                <a:ext uri="{FF2B5EF4-FFF2-40B4-BE49-F238E27FC236}">
                  <a16:creationId xmlns:a16="http://schemas.microsoft.com/office/drawing/2014/main" id="{7E82AE80-472F-4785-B54D-B85FECDD53B6}"/>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5" name="object 4">
              <a:extLst>
                <a:ext uri="{FF2B5EF4-FFF2-40B4-BE49-F238E27FC236}">
                  <a16:creationId xmlns:a16="http://schemas.microsoft.com/office/drawing/2014/main" id="{FDDC25D2-C652-4016-A855-8826D6F36917}"/>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909017317"/>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Lst>
  <p:hf hd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357188" indent="-357188" algn="l" defTabSz="914400" rtl="0" eaLnBrk="1" latinLnBrk="0" hangingPunct="1">
        <a:lnSpc>
          <a:spcPct val="100000"/>
        </a:lnSpc>
        <a:spcBef>
          <a:spcPts val="800"/>
        </a:spcBef>
        <a:buFontTx/>
        <a:buBlip>
          <a:blip r:embed="rId20"/>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618">
          <p15:clr>
            <a:srgbClr val="F26B43"/>
          </p15:clr>
        </p15:guide>
        <p15:guide id="3" orient="horz" pos="3997">
          <p15:clr>
            <a:srgbClr val="F26B43"/>
          </p15:clr>
        </p15:guide>
        <p15:guide id="4" pos="7242">
          <p15:clr>
            <a:srgbClr val="F26B43"/>
          </p15:clr>
        </p15:guide>
        <p15:guide id="5" orient="horz" pos="4224">
          <p15:clr>
            <a:srgbClr val="F26B43"/>
          </p15:clr>
        </p15:guide>
        <p15:guide id="6" orient="horz" pos="129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7" hidden="1">
            <a:extLst>
              <a:ext uri="{FF2B5EF4-FFF2-40B4-BE49-F238E27FC236}">
                <a16:creationId xmlns:a16="http://schemas.microsoft.com/office/drawing/2014/main" id="{8D2E43A2-24B7-6C83-EC96-EBB3EEBB7AD7}"/>
              </a:ext>
            </a:extLst>
          </p:cNvPr>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1026" name="Object 7" hidden="1">
                        <a:extLst>
                          <a:ext uri="{FF2B5EF4-FFF2-40B4-BE49-F238E27FC236}">
                            <a16:creationId xmlns:a16="http://schemas.microsoft.com/office/drawing/2014/main" id="{8D2E43A2-24B7-6C83-EC96-EBB3EEBB7AD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object 4">
            <a:extLst>
              <a:ext uri="{FF2B5EF4-FFF2-40B4-BE49-F238E27FC236}">
                <a16:creationId xmlns:a16="http://schemas.microsoft.com/office/drawing/2014/main" id="{BB554F0A-9292-EA34-95BD-5235A606983A}"/>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28" name="object 6">
            <a:extLst>
              <a:ext uri="{FF2B5EF4-FFF2-40B4-BE49-F238E27FC236}">
                <a16:creationId xmlns:a16="http://schemas.microsoft.com/office/drawing/2014/main" id="{6AC4D61D-E5A2-0C30-8AF8-A0052F5EE122}"/>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29" name="Title Placeholder 1">
            <a:extLst>
              <a:ext uri="{FF2B5EF4-FFF2-40B4-BE49-F238E27FC236}">
                <a16:creationId xmlns:a16="http://schemas.microsoft.com/office/drawing/2014/main" id="{02268ABE-298E-4B98-1381-4C453A8E4B06}"/>
              </a:ext>
            </a:extLst>
          </p:cNvPr>
          <p:cNvSpPr>
            <a:spLocks noGrp="1" noChangeArrowheads="1"/>
          </p:cNvSpPr>
          <p:nvPr>
            <p:ph type="title"/>
          </p:nvPr>
        </p:nvSpPr>
        <p:spPr bwMode="auto">
          <a:xfrm>
            <a:off x="600075" y="409575"/>
            <a:ext cx="10493375"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itle style</a:t>
            </a:r>
          </a:p>
        </p:txBody>
      </p:sp>
      <p:sp>
        <p:nvSpPr>
          <p:cNvPr id="1030" name="Text Placeholder 2">
            <a:extLst>
              <a:ext uri="{FF2B5EF4-FFF2-40B4-BE49-F238E27FC236}">
                <a16:creationId xmlns:a16="http://schemas.microsoft.com/office/drawing/2014/main" id="{1368A7E2-1535-28CF-188E-FA87DB02D208}"/>
              </a:ext>
            </a:extLst>
          </p:cNvPr>
          <p:cNvSpPr>
            <a:spLocks noGrp="1" noChangeArrowheads="1"/>
          </p:cNvSpPr>
          <p:nvPr>
            <p:ph type="body" idx="1"/>
          </p:nvPr>
        </p:nvSpPr>
        <p:spPr bwMode="auto">
          <a:xfrm>
            <a:off x="600075" y="1825625"/>
            <a:ext cx="10896600"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ext styles</a:t>
            </a:r>
          </a:p>
          <a:p>
            <a:pPr lvl="1"/>
            <a:r>
              <a:rPr lang="en-US" altLang="nb-NO"/>
              <a:t>Second level</a:t>
            </a:r>
          </a:p>
          <a:p>
            <a:pPr lvl="2"/>
            <a:r>
              <a:rPr lang="en-US" altLang="nb-NO"/>
              <a:t>Third level</a:t>
            </a:r>
          </a:p>
          <a:p>
            <a:pPr lvl="3"/>
            <a:r>
              <a:rPr lang="en-US" altLang="nb-NO"/>
              <a:t>Fourth level</a:t>
            </a:r>
          </a:p>
          <a:p>
            <a:pPr lvl="4"/>
            <a:r>
              <a:rPr lang="en-US" altLang="nb-NO"/>
              <a:t>Fifth level</a:t>
            </a:r>
          </a:p>
        </p:txBody>
      </p:sp>
      <p:sp>
        <p:nvSpPr>
          <p:cNvPr id="4" name="Date Placeholder 3">
            <a:extLst>
              <a:ext uri="{FF2B5EF4-FFF2-40B4-BE49-F238E27FC236}">
                <a16:creationId xmlns:a16="http://schemas.microsoft.com/office/drawing/2014/main" id="{7A5FEDDB-5562-6442-3AC3-028558DDEC05}"/>
              </a:ext>
            </a:extLst>
          </p:cNvPr>
          <p:cNvSpPr>
            <a:spLocks noGrp="1"/>
          </p:cNvSpPr>
          <p:nvPr>
            <p:ph type="dt" sz="half" idx="2"/>
          </p:nvPr>
        </p:nvSpPr>
        <p:spPr>
          <a:xfrm>
            <a:off x="8604250" y="6542088"/>
            <a:ext cx="2743200" cy="231775"/>
          </a:xfrm>
          <a:prstGeom prst="rect">
            <a:avLst/>
          </a:prstGeom>
        </p:spPr>
        <p:txBody>
          <a:bodyPr vert="horz" lIns="91440" tIns="45720" rIns="91440" bIns="45720" rtlCol="0" anchor="ctr">
            <a:spAutoFit/>
          </a:bodyPr>
          <a:lstStyle>
            <a:lvl1pPr algn="r" eaLnBrk="1" fontAlgn="auto" hangingPunct="1">
              <a:spcBef>
                <a:spcPts val="0"/>
              </a:spcBef>
              <a:spcAft>
                <a:spcPts val="0"/>
              </a:spcAft>
              <a:defRPr sz="900">
                <a:solidFill>
                  <a:schemeClr val="bg1"/>
                </a:solidFill>
                <a:latin typeface="+mn-lt"/>
              </a:defRPr>
            </a:lvl1pPr>
          </a:lstStyle>
          <a:p>
            <a:pPr>
              <a:defRPr/>
            </a:pPr>
            <a:fld id="{F5DA12A9-CF5C-48C6-864B-FE7013743AA8}" type="datetime1">
              <a:rPr lang="en-US"/>
              <a:pPr>
                <a:defRPr/>
              </a:pPr>
              <a:t>1/18/26</a:t>
            </a:fld>
            <a:endParaRPr lang="en-US"/>
          </a:p>
        </p:txBody>
      </p:sp>
      <p:sp>
        <p:nvSpPr>
          <p:cNvPr id="6" name="Slide Number Placeholder 5">
            <a:extLst>
              <a:ext uri="{FF2B5EF4-FFF2-40B4-BE49-F238E27FC236}">
                <a16:creationId xmlns:a16="http://schemas.microsoft.com/office/drawing/2014/main" id="{DEF596A9-755A-6CC2-6DBD-2877A498316E}"/>
              </a:ext>
            </a:extLst>
          </p:cNvPr>
          <p:cNvSpPr>
            <a:spLocks noGrp="1"/>
          </p:cNvSpPr>
          <p:nvPr>
            <p:ph type="sldNum" sz="quarter" idx="4"/>
          </p:nvPr>
        </p:nvSpPr>
        <p:spPr>
          <a:xfrm>
            <a:off x="11418888" y="6542088"/>
            <a:ext cx="368300" cy="231775"/>
          </a:xfrm>
          <a:prstGeom prst="rect">
            <a:avLst/>
          </a:prstGeom>
        </p:spPr>
        <p:txBody>
          <a:bodyPr vert="horz"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fld id="{D7DCD73B-6C34-484E-9E11-7482523AE08C}" type="slidenum">
              <a:rPr lang="en-US"/>
              <a:pPr>
                <a:defRPr/>
              </a:pPr>
              <a:t>‹#›</a:t>
            </a:fld>
            <a:endParaRPr lang="en-US"/>
          </a:p>
        </p:txBody>
      </p:sp>
      <p:grpSp>
        <p:nvGrpSpPr>
          <p:cNvPr id="1035" name="object 2">
            <a:extLst>
              <a:ext uri="{FF2B5EF4-FFF2-40B4-BE49-F238E27FC236}">
                <a16:creationId xmlns:a16="http://schemas.microsoft.com/office/drawing/2014/main" id="{884CC214-5E5E-BF10-F8A8-5D0910BCF4A1}"/>
              </a:ext>
            </a:extLst>
          </p:cNvPr>
          <p:cNvGrpSpPr>
            <a:grpSpLocks/>
          </p:cNvGrpSpPr>
          <p:nvPr/>
        </p:nvGrpSpPr>
        <p:grpSpPr bwMode="auto">
          <a:xfrm>
            <a:off x="11002963" y="-4763"/>
            <a:ext cx="1163637" cy="1343026"/>
            <a:chOff x="11002424" y="0"/>
            <a:chExt cx="1163955" cy="1342390"/>
          </a:xfrm>
        </p:grpSpPr>
        <p:sp>
          <p:nvSpPr>
            <p:cNvPr id="1036" name="object 3">
              <a:extLst>
                <a:ext uri="{FF2B5EF4-FFF2-40B4-BE49-F238E27FC236}">
                  <a16:creationId xmlns:a16="http://schemas.microsoft.com/office/drawing/2014/main" id="{8C51DF2E-3B31-2F36-06A1-3B1D072B4CBB}"/>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5" name="object 4">
              <a:extLst>
                <a:ext uri="{FF2B5EF4-FFF2-40B4-BE49-F238E27FC236}">
                  <a16:creationId xmlns:a16="http://schemas.microsoft.com/office/drawing/2014/main" id="{4CFDC7B1-C566-DB0E-CE28-4ADB469F02C7}"/>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Plassholder for bunntekst 1">
            <a:extLst>
              <a:ext uri="{FF2B5EF4-FFF2-40B4-BE49-F238E27FC236}">
                <a16:creationId xmlns:a16="http://schemas.microsoft.com/office/drawing/2014/main" id="{E179730D-93B4-6BBD-2A4B-88C74EECC675}"/>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Lst>
  <p:hf hdr="0" dt="0"/>
  <p:txStyles>
    <p:titleStyle>
      <a:lvl1pPr algn="l" rtl="0" eaLnBrk="1" fontAlgn="base" hangingPunct="1">
        <a:lnSpc>
          <a:spcPct val="90000"/>
        </a:lnSpc>
        <a:spcBef>
          <a:spcPct val="0"/>
        </a:spcBef>
        <a:spcAft>
          <a:spcPct val="0"/>
        </a:spcAft>
        <a:defRPr sz="2800" kern="1200">
          <a:solidFill>
            <a:schemeClr val="accent1"/>
          </a:solidFill>
          <a:latin typeface="+mj-lt"/>
          <a:ea typeface="+mj-ea"/>
          <a:cs typeface="+mj-cs"/>
        </a:defRPr>
      </a:lvl1pPr>
      <a:lvl2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2pPr>
      <a:lvl3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3pPr>
      <a:lvl4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4pPr>
      <a:lvl5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5pPr>
      <a:lvl6pPr marL="4572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6pPr>
      <a:lvl7pPr marL="9144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7pPr>
      <a:lvl8pPr marL="13716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8pPr>
      <a:lvl9pPr marL="18288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9pPr>
    </p:titleStyle>
    <p:bodyStyle>
      <a:lvl1pPr marL="357188" indent="-357188" algn="l" rtl="0" eaLnBrk="1" fontAlgn="base" hangingPunct="1">
        <a:spcBef>
          <a:spcPts val="800"/>
        </a:spcBef>
        <a:spcAft>
          <a:spcPct val="0"/>
        </a:spcAft>
        <a:buBlip>
          <a:blip r:embed="rId13"/>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7" hidden="1">
            <a:extLst>
              <a:ext uri="{FF2B5EF4-FFF2-40B4-BE49-F238E27FC236}">
                <a16:creationId xmlns:a16="http://schemas.microsoft.com/office/drawing/2014/main" id="{07EE5CD2-9724-454A-845F-877C4CFF2D8B}"/>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050" name="Object 7" hidden="1">
                        <a:extLst>
                          <a:ext uri="{FF2B5EF4-FFF2-40B4-BE49-F238E27FC236}">
                            <a16:creationId xmlns:a16="http://schemas.microsoft.com/office/drawing/2014/main" id="{07EE5CD2-9724-454A-845F-877C4CFF2D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object 2">
            <a:extLst>
              <a:ext uri="{FF2B5EF4-FFF2-40B4-BE49-F238E27FC236}">
                <a16:creationId xmlns:a16="http://schemas.microsoft.com/office/drawing/2014/main" id="{F469A66F-954C-4A2C-8AD3-EBD2EF2BA473}"/>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858000 h 6858000"/>
              <a:gd name="T6" fmla="*/ 12192000 w 12192000"/>
              <a:gd name="T7" fmla="*/ 6858000 h 6858000"/>
              <a:gd name="T8" fmla="*/ 12192000 w 12192000"/>
              <a:gd name="T9" fmla="*/ 0 h 6858000"/>
            </a:gdLst>
            <a:ahLst/>
            <a:cxnLst>
              <a:cxn ang="0">
                <a:pos x="T0" y="T1"/>
              </a:cxn>
              <a:cxn ang="0">
                <a:pos x="T2" y="T3"/>
              </a:cxn>
              <a:cxn ang="0">
                <a:pos x="T4" y="T5"/>
              </a:cxn>
              <a:cxn ang="0">
                <a:pos x="T6" y="T7"/>
              </a:cxn>
              <a:cxn ang="0">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sp>
        <p:nvSpPr>
          <p:cNvPr id="2052" name="object 4">
            <a:extLst>
              <a:ext uri="{FF2B5EF4-FFF2-40B4-BE49-F238E27FC236}">
                <a16:creationId xmlns:a16="http://schemas.microsoft.com/office/drawing/2014/main" id="{B27C24A0-8E85-4CFF-9D53-1CFE62D91FED}"/>
              </a:ext>
            </a:extLst>
          </p:cNvPr>
          <p:cNvSpPr>
            <a:spLocks/>
          </p:cNvSpPr>
          <p:nvPr/>
        </p:nvSpPr>
        <p:spPr bwMode="auto">
          <a:xfrm>
            <a:off x="0" y="6340475"/>
            <a:ext cx="12192000" cy="541338"/>
          </a:xfrm>
          <a:custGeom>
            <a:avLst/>
            <a:gdLst>
              <a:gd name="T0" fmla="*/ 12192000 w 12192000"/>
              <a:gd name="T1" fmla="*/ 0 h 541020"/>
              <a:gd name="T2" fmla="*/ 0 w 12192000"/>
              <a:gd name="T3" fmla="*/ 0 h 541020"/>
              <a:gd name="T4" fmla="*/ 0 w 12192000"/>
              <a:gd name="T5" fmla="*/ 541020 h 541020"/>
              <a:gd name="T6" fmla="*/ 12192000 w 12192000"/>
              <a:gd name="T7" fmla="*/ 541020 h 541020"/>
              <a:gd name="T8" fmla="*/ 12192000 w 12192000"/>
              <a:gd name="T9" fmla="*/ 0 h 541020"/>
            </a:gdLst>
            <a:ahLst/>
            <a:cxnLst>
              <a:cxn ang="0">
                <a:pos x="T0" y="T1"/>
              </a:cxn>
              <a:cxn ang="0">
                <a:pos x="T2" y="T3"/>
              </a:cxn>
              <a:cxn ang="0">
                <a:pos x="T4" y="T5"/>
              </a:cxn>
              <a:cxn ang="0">
                <a:pos x="T6" y="T7"/>
              </a:cxn>
              <a:cxn ang="0">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sp>
        <p:nvSpPr>
          <p:cNvPr id="2053" name="object 6">
            <a:extLst>
              <a:ext uri="{FF2B5EF4-FFF2-40B4-BE49-F238E27FC236}">
                <a16:creationId xmlns:a16="http://schemas.microsoft.com/office/drawing/2014/main" id="{84B548EA-EC7A-4DB0-891E-6494B8BAABFB}"/>
              </a:ext>
            </a:extLst>
          </p:cNvPr>
          <p:cNvSpPr>
            <a:spLocks/>
          </p:cNvSpPr>
          <p:nvPr/>
        </p:nvSpPr>
        <p:spPr bwMode="auto">
          <a:xfrm>
            <a:off x="695325" y="6478588"/>
            <a:ext cx="635000" cy="241300"/>
          </a:xfrm>
          <a:custGeom>
            <a:avLst/>
            <a:gdLst>
              <a:gd name="T0" fmla="*/ 0 w 634365"/>
              <a:gd name="T1" fmla="*/ 235974 h 240029"/>
              <a:gd name="T2" fmla="*/ 48334 w 634365"/>
              <a:gd name="T3" fmla="*/ 0 h 240029"/>
              <a:gd name="T4" fmla="*/ 103800 w 634365"/>
              <a:gd name="T5" fmla="*/ 235974 h 240029"/>
              <a:gd name="T6" fmla="*/ 95084 w 634365"/>
              <a:gd name="T7" fmla="*/ 154138 h 240029"/>
              <a:gd name="T8" fmla="*/ 103800 w 634365"/>
              <a:gd name="T9" fmla="*/ 72301 h 240029"/>
              <a:gd name="T10" fmla="*/ 103800 w 634365"/>
              <a:gd name="T11" fmla="*/ 235974 h 240029"/>
              <a:gd name="T12" fmla="*/ 426294 w 634365"/>
              <a:gd name="T13" fmla="*/ 235974 h 240029"/>
              <a:gd name="T14" fmla="*/ 474629 w 634365"/>
              <a:gd name="T15" fmla="*/ 0 h 240029"/>
              <a:gd name="T16" fmla="*/ 577637 w 634365"/>
              <a:gd name="T17" fmla="*/ 235974 h 240029"/>
              <a:gd name="T18" fmla="*/ 474629 w 634365"/>
              <a:gd name="T19" fmla="*/ 154138 h 240029"/>
              <a:gd name="T20" fmla="*/ 577637 w 634365"/>
              <a:gd name="T21" fmla="*/ 72301 h 240029"/>
              <a:gd name="T22" fmla="*/ 577637 w 634365"/>
              <a:gd name="T23" fmla="*/ 235974 h 240029"/>
              <a:gd name="T24" fmla="*/ 193474 w 634365"/>
              <a:gd name="T25" fmla="*/ 235403 h 240029"/>
              <a:gd name="T26" fmla="*/ 168886 w 634365"/>
              <a:gd name="T27" fmla="*/ 200394 h 240029"/>
              <a:gd name="T28" fmla="*/ 166397 w 634365"/>
              <a:gd name="T29" fmla="*/ 72301 h 240029"/>
              <a:gd name="T30" fmla="*/ 213164 w 634365"/>
              <a:gd name="T31" fmla="*/ 158905 h 240029"/>
              <a:gd name="T32" fmla="*/ 216019 w 634365"/>
              <a:gd name="T33" fmla="*/ 188501 h 240029"/>
              <a:gd name="T34" fmla="*/ 236126 w 634365"/>
              <a:gd name="T35" fmla="*/ 201015 h 240029"/>
              <a:gd name="T36" fmla="*/ 309816 w 634365"/>
              <a:gd name="T37" fmla="*/ 212933 h 240029"/>
              <a:gd name="T38" fmla="*/ 255353 w 634365"/>
              <a:gd name="T39" fmla="*/ 224193 h 240029"/>
              <a:gd name="T40" fmla="*/ 233984 w 634365"/>
              <a:gd name="T41" fmla="*/ 238072 h 240029"/>
              <a:gd name="T42" fmla="*/ 309816 w 634365"/>
              <a:gd name="T43" fmla="*/ 201015 h 240029"/>
              <a:gd name="T44" fmla="*/ 248692 w 634365"/>
              <a:gd name="T45" fmla="*/ 198681 h 240029"/>
              <a:gd name="T46" fmla="*/ 261642 w 634365"/>
              <a:gd name="T47" fmla="*/ 178222 h 240029"/>
              <a:gd name="T48" fmla="*/ 263066 w 634365"/>
              <a:gd name="T49" fmla="*/ 72301 h 240029"/>
              <a:gd name="T50" fmla="*/ 309816 w 634365"/>
              <a:gd name="T51" fmla="*/ 201015 h 240029"/>
              <a:gd name="T52" fmla="*/ 263066 w 634365"/>
              <a:gd name="T53" fmla="*/ 235974 h 240029"/>
              <a:gd name="T54" fmla="*/ 309816 w 634365"/>
              <a:gd name="T55" fmla="*/ 212933 h 240029"/>
              <a:gd name="T56" fmla="*/ 404900 w 634365"/>
              <a:gd name="T57" fmla="*/ 235974 h 240029"/>
              <a:gd name="T58" fmla="*/ 366545 w 634365"/>
              <a:gd name="T59" fmla="*/ 234137 h 240029"/>
              <a:gd name="T60" fmla="*/ 341833 w 634365"/>
              <a:gd name="T61" fmla="*/ 213181 h 240029"/>
              <a:gd name="T62" fmla="*/ 339134 w 634365"/>
              <a:gd name="T63" fmla="*/ 0 h 240029"/>
              <a:gd name="T64" fmla="*/ 387468 w 634365"/>
              <a:gd name="T65" fmla="*/ 177974 h 240029"/>
              <a:gd name="T66" fmla="*/ 387629 w 634365"/>
              <a:gd name="T67" fmla="*/ 186862 h 240029"/>
              <a:gd name="T68" fmla="*/ 396370 w 634365"/>
              <a:gd name="T69" fmla="*/ 195404 h 240029"/>
              <a:gd name="T70" fmla="*/ 404900 w 634365"/>
              <a:gd name="T71" fmla="*/ 235974 h 240029"/>
              <a:gd name="T72" fmla="*/ 601408 w 634365"/>
              <a:gd name="T73" fmla="*/ 75480 h 240029"/>
              <a:gd name="T74" fmla="*/ 614086 w 634365"/>
              <a:gd name="T75" fmla="*/ 72301 h 240029"/>
              <a:gd name="T76" fmla="*/ 609332 w 634365"/>
              <a:gd name="T77" fmla="*/ 87397 h 240029"/>
              <a:gd name="T78" fmla="*/ 606162 w 634365"/>
              <a:gd name="T79" fmla="*/ 75480 h 240029"/>
              <a:gd name="T80" fmla="*/ 609332 w 634365"/>
              <a:gd name="T81" fmla="*/ 87397 h 240029"/>
              <a:gd name="T82" fmla="*/ 616463 w 634365"/>
              <a:gd name="T83" fmla="*/ 87397 h 240029"/>
              <a:gd name="T84" fmla="*/ 622010 w 634365"/>
              <a:gd name="T85" fmla="*/ 72301 h 240029"/>
              <a:gd name="T86" fmla="*/ 620425 w 634365"/>
              <a:gd name="T87" fmla="*/ 77069 h 240029"/>
              <a:gd name="T88" fmla="*/ 628227 w 634365"/>
              <a:gd name="T89" fmla="*/ 82630 h 240029"/>
              <a:gd name="T90" fmla="*/ 628349 w 634365"/>
              <a:gd name="T91" fmla="*/ 72301 h 240029"/>
              <a:gd name="T92" fmla="*/ 633895 w 634365"/>
              <a:gd name="T93" fmla="*/ 77069 h 240029"/>
              <a:gd name="T94" fmla="*/ 628227 w 634365"/>
              <a:gd name="T95" fmla="*/ 82630 h 240029"/>
              <a:gd name="T96" fmla="*/ 623594 w 634365"/>
              <a:gd name="T97" fmla="*/ 87397 h 240029"/>
              <a:gd name="T98" fmla="*/ 623472 w 634365"/>
              <a:gd name="T99" fmla="*/ 77069 h 240029"/>
              <a:gd name="T100" fmla="*/ 628227 w 634365"/>
              <a:gd name="T101" fmla="*/ 82630 h 240029"/>
              <a:gd name="T102" fmla="*/ 633895 w 634365"/>
              <a:gd name="T103" fmla="*/ 87397 h 240029"/>
              <a:gd name="T104" fmla="*/ 629933 w 634365"/>
              <a:gd name="T105" fmla="*/ 77069 h 240029"/>
              <a:gd name="T106" fmla="*/ 633895 w 634365"/>
              <a:gd name="T107" fmla="*/ 87397 h 240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sp>
        <p:nvSpPr>
          <p:cNvPr id="2054" name="Title Placeholder 1">
            <a:extLst>
              <a:ext uri="{FF2B5EF4-FFF2-40B4-BE49-F238E27FC236}">
                <a16:creationId xmlns:a16="http://schemas.microsoft.com/office/drawing/2014/main" id="{E9CC7CC4-1EF7-4105-B95D-18AA28FCC68B}"/>
              </a:ext>
            </a:extLst>
          </p:cNvPr>
          <p:cNvSpPr>
            <a:spLocks noGrp="1" noChangeArrowheads="1"/>
          </p:cNvSpPr>
          <p:nvPr>
            <p:ph type="title"/>
          </p:nvPr>
        </p:nvSpPr>
        <p:spPr bwMode="auto">
          <a:xfrm>
            <a:off x="600075" y="411163"/>
            <a:ext cx="104854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itle style</a:t>
            </a:r>
          </a:p>
        </p:txBody>
      </p:sp>
      <p:sp>
        <p:nvSpPr>
          <p:cNvPr id="2055" name="Text Placeholder 2">
            <a:extLst>
              <a:ext uri="{FF2B5EF4-FFF2-40B4-BE49-F238E27FC236}">
                <a16:creationId xmlns:a16="http://schemas.microsoft.com/office/drawing/2014/main" id="{035765EC-29AA-48B9-B452-8185364669F4}"/>
              </a:ext>
            </a:extLst>
          </p:cNvPr>
          <p:cNvSpPr>
            <a:spLocks noGrp="1" noChangeArrowheads="1"/>
          </p:cNvSpPr>
          <p:nvPr>
            <p:ph type="body" idx="1"/>
          </p:nvPr>
        </p:nvSpPr>
        <p:spPr bwMode="auto">
          <a:xfrm>
            <a:off x="600075" y="1825625"/>
            <a:ext cx="10896600"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4" name="Date Placeholder 3">
            <a:extLst>
              <a:ext uri="{FF2B5EF4-FFF2-40B4-BE49-F238E27FC236}">
                <a16:creationId xmlns:a16="http://schemas.microsoft.com/office/drawing/2014/main" id="{56AA8ADA-70E5-4184-815F-94F4D3584F97}"/>
              </a:ext>
            </a:extLst>
          </p:cNvPr>
          <p:cNvSpPr>
            <a:spLocks noGrp="1"/>
          </p:cNvSpPr>
          <p:nvPr>
            <p:ph type="dt" sz="half" idx="2"/>
          </p:nvPr>
        </p:nvSpPr>
        <p:spPr>
          <a:xfrm>
            <a:off x="8604250" y="6542088"/>
            <a:ext cx="2743200" cy="231775"/>
          </a:xfrm>
          <a:prstGeom prst="rect">
            <a:avLst/>
          </a:prstGeom>
        </p:spPr>
        <p:txBody>
          <a:bodyPr vert="horz" lIns="91440" tIns="45720" rIns="91440" bIns="45720" rtlCol="0" anchor="ctr">
            <a:spAutoFit/>
          </a:bodyPr>
          <a:lstStyle>
            <a:lvl1pPr algn="r" eaLnBrk="1" fontAlgn="auto" hangingPunct="1">
              <a:spcBef>
                <a:spcPts val="0"/>
              </a:spcBef>
              <a:spcAft>
                <a:spcPts val="0"/>
              </a:spcAft>
              <a:defRPr sz="900" smtClean="0">
                <a:solidFill>
                  <a:schemeClr val="bg1"/>
                </a:solidFill>
                <a:latin typeface="+mn-lt"/>
              </a:defRPr>
            </a:lvl1pPr>
          </a:lstStyle>
          <a:p>
            <a:pPr>
              <a:defRPr/>
            </a:pPr>
            <a:fld id="{E4C255C8-0B62-441F-8326-90BE368C811F}" type="datetime1">
              <a:rPr lang="en-US"/>
              <a:pPr>
                <a:defRPr/>
              </a:pPr>
              <a:t>1/18/26</a:t>
            </a:fld>
            <a:endParaRPr lang="en-US"/>
          </a:p>
        </p:txBody>
      </p:sp>
      <p:sp>
        <p:nvSpPr>
          <p:cNvPr id="5" name="Footer Placeholder 4">
            <a:extLst>
              <a:ext uri="{FF2B5EF4-FFF2-40B4-BE49-F238E27FC236}">
                <a16:creationId xmlns:a16="http://schemas.microsoft.com/office/drawing/2014/main" id="{AADF6D37-3272-4343-9520-E667B8778B75}"/>
              </a:ext>
            </a:extLst>
          </p:cNvPr>
          <p:cNvSpPr>
            <a:spLocks noGrp="1"/>
          </p:cNvSpPr>
          <p:nvPr>
            <p:ph type="ftr" sz="quarter" idx="3"/>
          </p:nvPr>
        </p:nvSpPr>
        <p:spPr>
          <a:xfrm>
            <a:off x="1530350" y="6542088"/>
            <a:ext cx="4464050" cy="231775"/>
          </a:xfrm>
          <a:prstGeom prst="rect">
            <a:avLst/>
          </a:prstGeom>
        </p:spPr>
        <p:txBody>
          <a:bodyPr vert="horz" wrap="square"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r>
              <a:rPr lang="en-US" altLang="en-US"/>
              <a:t>Sigma2 site visit</a:t>
            </a:r>
            <a:endParaRPr lang="en-US"/>
          </a:p>
        </p:txBody>
      </p:sp>
      <p:sp>
        <p:nvSpPr>
          <p:cNvPr id="6" name="Slide Number Placeholder 5">
            <a:extLst>
              <a:ext uri="{FF2B5EF4-FFF2-40B4-BE49-F238E27FC236}">
                <a16:creationId xmlns:a16="http://schemas.microsoft.com/office/drawing/2014/main" id="{CAF64B33-D181-4F88-8098-F0DDAF450670}"/>
              </a:ext>
            </a:extLst>
          </p:cNvPr>
          <p:cNvSpPr>
            <a:spLocks noGrp="1"/>
          </p:cNvSpPr>
          <p:nvPr>
            <p:ph type="sldNum" sz="quarter" idx="4"/>
          </p:nvPr>
        </p:nvSpPr>
        <p:spPr>
          <a:xfrm>
            <a:off x="11418888" y="6542088"/>
            <a:ext cx="368300" cy="231775"/>
          </a:xfrm>
          <a:prstGeom prst="rect">
            <a:avLst/>
          </a:prstGeom>
        </p:spPr>
        <p:txBody>
          <a:bodyPr vert="horz" lIns="91440" tIns="45720" rIns="91440" bIns="45720" rtlCol="0" anchor="ctr">
            <a:spAutoFit/>
          </a:bodyPr>
          <a:lstStyle>
            <a:lvl1pPr algn="l" eaLnBrk="1" fontAlgn="auto" hangingPunct="1">
              <a:spcBef>
                <a:spcPts val="0"/>
              </a:spcBef>
              <a:spcAft>
                <a:spcPts val="0"/>
              </a:spcAft>
              <a:defRPr sz="900" smtClean="0">
                <a:solidFill>
                  <a:schemeClr val="bg1"/>
                </a:solidFill>
                <a:latin typeface="+mn-lt"/>
              </a:defRPr>
            </a:lvl1pPr>
          </a:lstStyle>
          <a:p>
            <a:pPr>
              <a:defRPr/>
            </a:pPr>
            <a:fld id="{988F4E85-1444-47EB-B732-C7F482DECDE2}" type="slidenum">
              <a:rPr lang="en-US"/>
              <a:pPr>
                <a:defRPr/>
              </a:pPr>
              <a:t>‹#›</a:t>
            </a:fld>
            <a:endParaRPr lang="en-US"/>
          </a:p>
        </p:txBody>
      </p:sp>
      <p:grpSp>
        <p:nvGrpSpPr>
          <p:cNvPr id="2060" name="object 2">
            <a:extLst>
              <a:ext uri="{FF2B5EF4-FFF2-40B4-BE49-F238E27FC236}">
                <a16:creationId xmlns:a16="http://schemas.microsoft.com/office/drawing/2014/main" id="{C4FAF60E-146E-4116-9F7E-3311BC1A4D6D}"/>
              </a:ext>
            </a:extLst>
          </p:cNvPr>
          <p:cNvGrpSpPr>
            <a:grpSpLocks/>
          </p:cNvGrpSpPr>
          <p:nvPr/>
        </p:nvGrpSpPr>
        <p:grpSpPr bwMode="auto">
          <a:xfrm>
            <a:off x="11002963" y="-4763"/>
            <a:ext cx="1163637" cy="1343026"/>
            <a:chOff x="11002424" y="0"/>
            <a:chExt cx="1163955" cy="1342390"/>
          </a:xfrm>
        </p:grpSpPr>
        <p:sp>
          <p:nvSpPr>
            <p:cNvPr id="2061" name="object 3">
              <a:extLst>
                <a:ext uri="{FF2B5EF4-FFF2-40B4-BE49-F238E27FC236}">
                  <a16:creationId xmlns:a16="http://schemas.microsoft.com/office/drawing/2014/main" id="{887C3ABC-52C5-4093-AEBE-5D525ECD293E}"/>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Lst>
              <a:ahLst/>
              <a:cxnLst>
                <a:cxn ang="0">
                  <a:pos x="T0" y="T1"/>
                </a:cxn>
                <a:cxn ang="0">
                  <a:pos x="T2" y="T3"/>
                </a:cxn>
                <a:cxn ang="0">
                  <a:pos x="T4" y="T5"/>
                </a:cxn>
                <a:cxn ang="0">
                  <a:pos x="T6" y="T7"/>
                </a:cxn>
                <a:cxn ang="0">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sp>
          <p:nvSpPr>
            <p:cNvPr id="16" name="object 4">
              <a:extLst>
                <a:ext uri="{FF2B5EF4-FFF2-40B4-BE49-F238E27FC236}">
                  <a16:creationId xmlns:a16="http://schemas.microsoft.com/office/drawing/2014/main" id="{A78A5FEF-2249-4731-B654-B21D08355F29}"/>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
        <p:nvSpPr>
          <p:cNvPr id="2" name="Plassholder for bunntekst 1">
            <a:extLst>
              <a:ext uri="{FF2B5EF4-FFF2-40B4-BE49-F238E27FC236}">
                <a16:creationId xmlns:a16="http://schemas.microsoft.com/office/drawing/2014/main" id="{A4133F07-441D-92D2-62FE-AEAA0C2F4237}"/>
              </a:ext>
            </a:extLst>
          </p:cNvPr>
          <p:cNvSpPr txBox="1">
            <a:spLocks/>
          </p:cNvSpPr>
          <p:nvPr userDrawn="1"/>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2718120135"/>
      </p:ext>
    </p:extLst>
  </p:cSld>
  <p:clrMap bg1="lt1" tx1="dk1" bg2="lt2" tx2="dk2" accent1="accent1" accent2="accent2" accent3="accent3" accent4="accent4" accent5="accent5" accent6="accent6" hlink="hlink" folHlink="folHlink"/>
  <p:sldLayoutIdLst>
    <p:sldLayoutId id="2147483665" r:id="rId1"/>
  </p:sldLayoutIdLst>
  <p:hf hdr="0" dt="0"/>
  <p:txStyles>
    <p:titleStyle>
      <a:lvl1pPr algn="l" rtl="0" fontAlgn="base">
        <a:lnSpc>
          <a:spcPct val="90000"/>
        </a:lnSpc>
        <a:spcBef>
          <a:spcPct val="0"/>
        </a:spcBef>
        <a:spcAft>
          <a:spcPct val="0"/>
        </a:spcAft>
        <a:defRPr sz="2800" kern="1200">
          <a:solidFill>
            <a:schemeClr val="accent1"/>
          </a:solidFill>
          <a:latin typeface="+mj-lt"/>
          <a:ea typeface="+mj-ea"/>
          <a:cs typeface="+mj-cs"/>
        </a:defRPr>
      </a:lvl1pPr>
      <a:lvl2pPr algn="l" rtl="0" fontAlgn="base">
        <a:lnSpc>
          <a:spcPct val="90000"/>
        </a:lnSpc>
        <a:spcBef>
          <a:spcPct val="0"/>
        </a:spcBef>
        <a:spcAft>
          <a:spcPct val="0"/>
        </a:spcAft>
        <a:defRPr sz="2800">
          <a:solidFill>
            <a:schemeClr val="accent1"/>
          </a:solidFill>
          <a:latin typeface="Arial" panose="020B0604020202020204" pitchFamily="34" charset="0"/>
        </a:defRPr>
      </a:lvl2pPr>
      <a:lvl3pPr algn="l" rtl="0" fontAlgn="base">
        <a:lnSpc>
          <a:spcPct val="90000"/>
        </a:lnSpc>
        <a:spcBef>
          <a:spcPct val="0"/>
        </a:spcBef>
        <a:spcAft>
          <a:spcPct val="0"/>
        </a:spcAft>
        <a:defRPr sz="2800">
          <a:solidFill>
            <a:schemeClr val="accent1"/>
          </a:solidFill>
          <a:latin typeface="Arial" panose="020B0604020202020204" pitchFamily="34" charset="0"/>
        </a:defRPr>
      </a:lvl3pPr>
      <a:lvl4pPr algn="l" rtl="0" fontAlgn="base">
        <a:lnSpc>
          <a:spcPct val="90000"/>
        </a:lnSpc>
        <a:spcBef>
          <a:spcPct val="0"/>
        </a:spcBef>
        <a:spcAft>
          <a:spcPct val="0"/>
        </a:spcAft>
        <a:defRPr sz="2800">
          <a:solidFill>
            <a:schemeClr val="accent1"/>
          </a:solidFill>
          <a:latin typeface="Arial" panose="020B0604020202020204" pitchFamily="34" charset="0"/>
        </a:defRPr>
      </a:lvl4pPr>
      <a:lvl5pPr algn="l" rtl="0" fontAlgn="base">
        <a:lnSpc>
          <a:spcPct val="90000"/>
        </a:lnSpc>
        <a:spcBef>
          <a:spcPct val="0"/>
        </a:spcBef>
        <a:spcAft>
          <a:spcPct val="0"/>
        </a:spcAft>
        <a:defRPr sz="2800">
          <a:solidFill>
            <a:schemeClr val="accent1"/>
          </a:solidFill>
          <a:latin typeface="Arial" panose="020B0604020202020204" pitchFamily="34" charset="0"/>
        </a:defRPr>
      </a:lvl5pPr>
      <a:lvl6pPr marL="457200" algn="l" rtl="0" fontAlgn="base">
        <a:lnSpc>
          <a:spcPct val="90000"/>
        </a:lnSpc>
        <a:spcBef>
          <a:spcPct val="0"/>
        </a:spcBef>
        <a:spcAft>
          <a:spcPct val="0"/>
        </a:spcAft>
        <a:defRPr sz="2800">
          <a:solidFill>
            <a:schemeClr val="accent1"/>
          </a:solidFill>
          <a:latin typeface="Arial" panose="020B0604020202020204" pitchFamily="34" charset="0"/>
        </a:defRPr>
      </a:lvl6pPr>
      <a:lvl7pPr marL="914400" algn="l" rtl="0" fontAlgn="base">
        <a:lnSpc>
          <a:spcPct val="90000"/>
        </a:lnSpc>
        <a:spcBef>
          <a:spcPct val="0"/>
        </a:spcBef>
        <a:spcAft>
          <a:spcPct val="0"/>
        </a:spcAft>
        <a:defRPr sz="2800">
          <a:solidFill>
            <a:schemeClr val="accent1"/>
          </a:solidFill>
          <a:latin typeface="Arial" panose="020B0604020202020204" pitchFamily="34" charset="0"/>
        </a:defRPr>
      </a:lvl7pPr>
      <a:lvl8pPr marL="1371600" algn="l" rtl="0" fontAlgn="base">
        <a:lnSpc>
          <a:spcPct val="90000"/>
        </a:lnSpc>
        <a:spcBef>
          <a:spcPct val="0"/>
        </a:spcBef>
        <a:spcAft>
          <a:spcPct val="0"/>
        </a:spcAft>
        <a:defRPr sz="2800">
          <a:solidFill>
            <a:schemeClr val="accent1"/>
          </a:solidFill>
          <a:latin typeface="Arial" panose="020B0604020202020204" pitchFamily="34" charset="0"/>
        </a:defRPr>
      </a:lvl8pPr>
      <a:lvl9pPr marL="1828800" algn="l" rtl="0" fontAlgn="base">
        <a:lnSpc>
          <a:spcPct val="90000"/>
        </a:lnSpc>
        <a:spcBef>
          <a:spcPct val="0"/>
        </a:spcBef>
        <a:spcAft>
          <a:spcPct val="0"/>
        </a:spcAft>
        <a:defRPr sz="2800">
          <a:solidFill>
            <a:schemeClr val="accent1"/>
          </a:solidFill>
          <a:latin typeface="Arial" panose="020B0604020202020204" pitchFamily="34" charset="0"/>
        </a:defRPr>
      </a:lvl9pPr>
    </p:titleStyle>
    <p:bodyStyle>
      <a:lvl1pPr marL="357188" indent="-357188" algn="l" rtl="0" fontAlgn="base">
        <a:spcBef>
          <a:spcPts val="800"/>
        </a:spcBef>
        <a:spcAft>
          <a:spcPct val="0"/>
        </a:spcAft>
        <a:buBlip>
          <a:blip r:embed="rId6"/>
        </a:buBlip>
        <a:defRPr sz="1600" kern="1200">
          <a:solidFill>
            <a:schemeClr val="bg1"/>
          </a:solidFill>
          <a:latin typeface="+mn-lt"/>
          <a:ea typeface="+mn-ea"/>
          <a:cs typeface="+mn-cs"/>
        </a:defRPr>
      </a:lvl1pPr>
      <a:lvl2pPr marL="715963" indent="-358775" algn="l" rtl="0" fontAlgn="base">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2pPr>
      <a:lvl3pPr marL="1077913" indent="-361950" algn="l" rtl="0" fontAlgn="base">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3pPr>
      <a:lvl4pPr marL="1435100" indent="-357188" algn="l" rtl="0" fontAlgn="base">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4pPr>
      <a:lvl5pPr marL="1793875" indent="-358775" algn="l" rtl="0" fontAlgn="base">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7" hidden="1">
            <a:extLst>
              <a:ext uri="{FF2B5EF4-FFF2-40B4-BE49-F238E27FC236}">
                <a16:creationId xmlns:a16="http://schemas.microsoft.com/office/drawing/2014/main" id="{BFD29981-45A6-F9E5-6908-4D172C743B68}"/>
              </a:ext>
            </a:extLst>
          </p:cNvPr>
          <p:cNvGraphicFramePr>
            <a:graphicFrameLocks noChangeAspect="1"/>
          </p:cNvGraphicFramePr>
          <p:nvPr>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2050" name="Object 7" hidden="1">
                        <a:extLst>
                          <a:ext uri="{FF2B5EF4-FFF2-40B4-BE49-F238E27FC236}">
                            <a16:creationId xmlns:a16="http://schemas.microsoft.com/office/drawing/2014/main" id="{BFD29981-45A6-F9E5-6908-4D172C743B6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object 2">
            <a:extLst>
              <a:ext uri="{FF2B5EF4-FFF2-40B4-BE49-F238E27FC236}">
                <a16:creationId xmlns:a16="http://schemas.microsoft.com/office/drawing/2014/main" id="{4038AF6F-CB25-D0FB-DEB1-E397FCAEB901}"/>
              </a:ext>
            </a:extLst>
          </p:cNvPr>
          <p:cNvSpPr>
            <a:spLocks/>
          </p:cNvSpPr>
          <p:nvPr/>
        </p:nvSpPr>
        <p:spPr bwMode="auto">
          <a:xfrm>
            <a:off x="0" y="0"/>
            <a:ext cx="12192000" cy="6345238"/>
          </a:xfrm>
          <a:custGeom>
            <a:avLst/>
            <a:gdLst>
              <a:gd name="T0" fmla="*/ 12192000 w 12192000"/>
              <a:gd name="T1" fmla="*/ 0 h 6858000"/>
              <a:gd name="T2" fmla="*/ 0 w 12192000"/>
              <a:gd name="T3" fmla="*/ 0 h 6858000"/>
              <a:gd name="T4" fmla="*/ 0 w 12192000"/>
              <a:gd name="T5" fmla="*/ 6345238 h 6858000"/>
              <a:gd name="T6" fmla="*/ 12192000 w 12192000"/>
              <a:gd name="T7" fmla="*/ 6345238 h 6858000"/>
              <a:gd name="T8" fmla="*/ 12192000 w 12192000"/>
              <a:gd name="T9" fmla="*/ 0 h 6858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6858000">
                <a:moveTo>
                  <a:pt x="12192000" y="0"/>
                </a:moveTo>
                <a:lnTo>
                  <a:pt x="0" y="0"/>
                </a:lnTo>
                <a:lnTo>
                  <a:pt x="0" y="6858000"/>
                </a:lnTo>
                <a:lnTo>
                  <a:pt x="12192000" y="6858000"/>
                </a:lnTo>
                <a:lnTo>
                  <a:pt x="121920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2" name="object 4">
            <a:extLst>
              <a:ext uri="{FF2B5EF4-FFF2-40B4-BE49-F238E27FC236}">
                <a16:creationId xmlns:a16="http://schemas.microsoft.com/office/drawing/2014/main" id="{9DB3E34B-538D-BE83-827D-F59B508A1CE2}"/>
              </a:ext>
            </a:extLst>
          </p:cNvPr>
          <p:cNvSpPr>
            <a:spLocks/>
          </p:cNvSpPr>
          <p:nvPr/>
        </p:nvSpPr>
        <p:spPr bwMode="auto">
          <a:xfrm>
            <a:off x="0" y="6345238"/>
            <a:ext cx="12192000" cy="584200"/>
          </a:xfrm>
          <a:custGeom>
            <a:avLst/>
            <a:gdLst>
              <a:gd name="T0" fmla="*/ 12192000 w 12192000"/>
              <a:gd name="T1" fmla="*/ 0 h 541020"/>
              <a:gd name="T2" fmla="*/ 0 w 12192000"/>
              <a:gd name="T3" fmla="*/ 0 h 541020"/>
              <a:gd name="T4" fmla="*/ 0 w 12192000"/>
              <a:gd name="T5" fmla="*/ 541338 h 541020"/>
              <a:gd name="T6" fmla="*/ 12192000 w 12192000"/>
              <a:gd name="T7" fmla="*/ 541338 h 541020"/>
              <a:gd name="T8" fmla="*/ 12192000 w 12192000"/>
              <a:gd name="T9" fmla="*/ 0 h 5410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541020">
                <a:moveTo>
                  <a:pt x="12192000" y="0"/>
                </a:moveTo>
                <a:lnTo>
                  <a:pt x="0" y="0"/>
                </a:lnTo>
                <a:lnTo>
                  <a:pt x="0" y="541020"/>
                </a:lnTo>
                <a:lnTo>
                  <a:pt x="12192000" y="541020"/>
                </a:lnTo>
                <a:lnTo>
                  <a:pt x="12192000" y="0"/>
                </a:lnTo>
                <a:close/>
              </a:path>
            </a:pathLst>
          </a:custGeom>
          <a:solidFill>
            <a:srgbClr val="364657"/>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3" name="object 6">
            <a:extLst>
              <a:ext uri="{FF2B5EF4-FFF2-40B4-BE49-F238E27FC236}">
                <a16:creationId xmlns:a16="http://schemas.microsoft.com/office/drawing/2014/main" id="{3EE6287C-AB0B-624D-F230-215098C4C7BA}"/>
              </a:ext>
            </a:extLst>
          </p:cNvPr>
          <p:cNvSpPr>
            <a:spLocks/>
          </p:cNvSpPr>
          <p:nvPr/>
        </p:nvSpPr>
        <p:spPr bwMode="auto">
          <a:xfrm>
            <a:off x="695325" y="6478588"/>
            <a:ext cx="635000" cy="241300"/>
          </a:xfrm>
          <a:custGeom>
            <a:avLst/>
            <a:gdLst>
              <a:gd name="T0" fmla="*/ 0 w 634365"/>
              <a:gd name="T1" fmla="*/ 237224 h 240029"/>
              <a:gd name="T2" fmla="*/ 48382 w 634365"/>
              <a:gd name="T3" fmla="*/ 0 h 240029"/>
              <a:gd name="T4" fmla="*/ 103904 w 634365"/>
              <a:gd name="T5" fmla="*/ 237224 h 240029"/>
              <a:gd name="T6" fmla="*/ 95179 w 634365"/>
              <a:gd name="T7" fmla="*/ 154954 h 240029"/>
              <a:gd name="T8" fmla="*/ 103904 w 634365"/>
              <a:gd name="T9" fmla="*/ 72684 h 240029"/>
              <a:gd name="T10" fmla="*/ 103904 w 634365"/>
              <a:gd name="T11" fmla="*/ 237224 h 240029"/>
              <a:gd name="T12" fmla="*/ 426721 w 634365"/>
              <a:gd name="T13" fmla="*/ 237224 h 240029"/>
              <a:gd name="T14" fmla="*/ 475104 w 634365"/>
              <a:gd name="T15" fmla="*/ 0 h 240029"/>
              <a:gd name="T16" fmla="*/ 578215 w 634365"/>
              <a:gd name="T17" fmla="*/ 237224 h 240029"/>
              <a:gd name="T18" fmla="*/ 475104 w 634365"/>
              <a:gd name="T19" fmla="*/ 154954 h 240029"/>
              <a:gd name="T20" fmla="*/ 578215 w 634365"/>
              <a:gd name="T21" fmla="*/ 72684 h 240029"/>
              <a:gd name="T22" fmla="*/ 578215 w 634365"/>
              <a:gd name="T23" fmla="*/ 237224 h 240029"/>
              <a:gd name="T24" fmla="*/ 193668 w 634365"/>
              <a:gd name="T25" fmla="*/ 236650 h 240029"/>
              <a:gd name="T26" fmla="*/ 169055 w 634365"/>
              <a:gd name="T27" fmla="*/ 201455 h 240029"/>
              <a:gd name="T28" fmla="*/ 166564 w 634365"/>
              <a:gd name="T29" fmla="*/ 72684 h 240029"/>
              <a:gd name="T30" fmla="*/ 213377 w 634365"/>
              <a:gd name="T31" fmla="*/ 159746 h 240029"/>
              <a:gd name="T32" fmla="*/ 216235 w 634365"/>
              <a:gd name="T33" fmla="*/ 189499 h 240029"/>
              <a:gd name="T34" fmla="*/ 236362 w 634365"/>
              <a:gd name="T35" fmla="*/ 202079 h 240029"/>
              <a:gd name="T36" fmla="*/ 310126 w 634365"/>
              <a:gd name="T37" fmla="*/ 214061 h 240029"/>
              <a:gd name="T38" fmla="*/ 255609 w 634365"/>
              <a:gd name="T39" fmla="*/ 225380 h 240029"/>
              <a:gd name="T40" fmla="*/ 234218 w 634365"/>
              <a:gd name="T41" fmla="*/ 239333 h 240029"/>
              <a:gd name="T42" fmla="*/ 310126 w 634365"/>
              <a:gd name="T43" fmla="*/ 202079 h 240029"/>
              <a:gd name="T44" fmla="*/ 248941 w 634365"/>
              <a:gd name="T45" fmla="*/ 199733 h 240029"/>
              <a:gd name="T46" fmla="*/ 261904 w 634365"/>
              <a:gd name="T47" fmla="*/ 179166 h 240029"/>
              <a:gd name="T48" fmla="*/ 263329 w 634365"/>
              <a:gd name="T49" fmla="*/ 72684 h 240029"/>
              <a:gd name="T50" fmla="*/ 310126 w 634365"/>
              <a:gd name="T51" fmla="*/ 202079 h 240029"/>
              <a:gd name="T52" fmla="*/ 263329 w 634365"/>
              <a:gd name="T53" fmla="*/ 237224 h 240029"/>
              <a:gd name="T54" fmla="*/ 310126 w 634365"/>
              <a:gd name="T55" fmla="*/ 214061 h 240029"/>
              <a:gd name="T56" fmla="*/ 405305 w 634365"/>
              <a:gd name="T57" fmla="*/ 237224 h 240029"/>
              <a:gd name="T58" fmla="*/ 366912 w 634365"/>
              <a:gd name="T59" fmla="*/ 235377 h 240029"/>
              <a:gd name="T60" fmla="*/ 342175 w 634365"/>
              <a:gd name="T61" fmla="*/ 214310 h 240029"/>
              <a:gd name="T62" fmla="*/ 339473 w 634365"/>
              <a:gd name="T63" fmla="*/ 0 h 240029"/>
              <a:gd name="T64" fmla="*/ 387856 w 634365"/>
              <a:gd name="T65" fmla="*/ 178916 h 240029"/>
              <a:gd name="T66" fmla="*/ 388017 w 634365"/>
              <a:gd name="T67" fmla="*/ 187851 h 240029"/>
              <a:gd name="T68" fmla="*/ 396767 w 634365"/>
              <a:gd name="T69" fmla="*/ 196439 h 240029"/>
              <a:gd name="T70" fmla="*/ 405305 w 634365"/>
              <a:gd name="T71" fmla="*/ 237224 h 240029"/>
              <a:gd name="T72" fmla="*/ 602010 w 634365"/>
              <a:gd name="T73" fmla="*/ 75880 h 240029"/>
              <a:gd name="T74" fmla="*/ 614701 w 634365"/>
              <a:gd name="T75" fmla="*/ 72684 h 240029"/>
              <a:gd name="T76" fmla="*/ 609942 w 634365"/>
              <a:gd name="T77" fmla="*/ 87860 h 240029"/>
              <a:gd name="T78" fmla="*/ 606769 w 634365"/>
              <a:gd name="T79" fmla="*/ 75880 h 240029"/>
              <a:gd name="T80" fmla="*/ 609942 w 634365"/>
              <a:gd name="T81" fmla="*/ 87860 h 240029"/>
              <a:gd name="T82" fmla="*/ 617080 w 634365"/>
              <a:gd name="T83" fmla="*/ 87860 h 240029"/>
              <a:gd name="T84" fmla="*/ 622633 w 634365"/>
              <a:gd name="T85" fmla="*/ 72684 h 240029"/>
              <a:gd name="T86" fmla="*/ 621046 w 634365"/>
              <a:gd name="T87" fmla="*/ 77477 h 240029"/>
              <a:gd name="T88" fmla="*/ 628856 w 634365"/>
              <a:gd name="T89" fmla="*/ 83068 h 240029"/>
              <a:gd name="T90" fmla="*/ 628978 w 634365"/>
              <a:gd name="T91" fmla="*/ 72684 h 240029"/>
              <a:gd name="T92" fmla="*/ 634530 w 634365"/>
              <a:gd name="T93" fmla="*/ 77477 h 240029"/>
              <a:gd name="T94" fmla="*/ 628856 w 634365"/>
              <a:gd name="T95" fmla="*/ 83068 h 240029"/>
              <a:gd name="T96" fmla="*/ 624218 w 634365"/>
              <a:gd name="T97" fmla="*/ 87860 h 240029"/>
              <a:gd name="T98" fmla="*/ 624096 w 634365"/>
              <a:gd name="T99" fmla="*/ 77477 h 240029"/>
              <a:gd name="T100" fmla="*/ 628856 w 634365"/>
              <a:gd name="T101" fmla="*/ 83068 h 240029"/>
              <a:gd name="T102" fmla="*/ 634530 w 634365"/>
              <a:gd name="T103" fmla="*/ 87860 h 240029"/>
              <a:gd name="T104" fmla="*/ 630564 w 634365"/>
              <a:gd name="T105" fmla="*/ 77477 h 240029"/>
              <a:gd name="T106" fmla="*/ 634530 w 634365"/>
              <a:gd name="T107" fmla="*/ 87860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2054" name="Title Placeholder 1">
            <a:extLst>
              <a:ext uri="{FF2B5EF4-FFF2-40B4-BE49-F238E27FC236}">
                <a16:creationId xmlns:a16="http://schemas.microsoft.com/office/drawing/2014/main" id="{A9D23CAD-F5AF-1C45-F050-2DE39A3D07B4}"/>
              </a:ext>
            </a:extLst>
          </p:cNvPr>
          <p:cNvSpPr>
            <a:spLocks noGrp="1" noChangeArrowheads="1"/>
          </p:cNvSpPr>
          <p:nvPr>
            <p:ph type="title"/>
          </p:nvPr>
        </p:nvSpPr>
        <p:spPr bwMode="auto">
          <a:xfrm>
            <a:off x="600075" y="411163"/>
            <a:ext cx="104854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itle style</a:t>
            </a:r>
          </a:p>
        </p:txBody>
      </p:sp>
      <p:sp>
        <p:nvSpPr>
          <p:cNvPr id="2055" name="Text Placeholder 2">
            <a:extLst>
              <a:ext uri="{FF2B5EF4-FFF2-40B4-BE49-F238E27FC236}">
                <a16:creationId xmlns:a16="http://schemas.microsoft.com/office/drawing/2014/main" id="{A435E2CC-25E0-F23A-7B95-2F691AF7B911}"/>
              </a:ext>
            </a:extLst>
          </p:cNvPr>
          <p:cNvSpPr>
            <a:spLocks noGrp="1" noChangeArrowheads="1"/>
          </p:cNvSpPr>
          <p:nvPr>
            <p:ph type="body" idx="1"/>
          </p:nvPr>
        </p:nvSpPr>
        <p:spPr bwMode="auto">
          <a:xfrm>
            <a:off x="600075" y="1825625"/>
            <a:ext cx="10896600"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nb-NO"/>
              <a:t>Click to edit Master text styles</a:t>
            </a:r>
          </a:p>
          <a:p>
            <a:pPr lvl="1"/>
            <a:r>
              <a:rPr lang="en-US" altLang="nb-NO"/>
              <a:t>Second level</a:t>
            </a:r>
          </a:p>
          <a:p>
            <a:pPr lvl="2"/>
            <a:r>
              <a:rPr lang="en-US" altLang="nb-NO"/>
              <a:t>Third level</a:t>
            </a:r>
          </a:p>
          <a:p>
            <a:pPr lvl="3"/>
            <a:r>
              <a:rPr lang="en-US" altLang="nb-NO"/>
              <a:t>Fourth level</a:t>
            </a:r>
          </a:p>
          <a:p>
            <a:pPr lvl="4"/>
            <a:r>
              <a:rPr lang="en-US" altLang="nb-NO"/>
              <a:t>Fifth level</a:t>
            </a:r>
          </a:p>
        </p:txBody>
      </p:sp>
      <p:sp>
        <p:nvSpPr>
          <p:cNvPr id="4" name="Date Placeholder 3">
            <a:extLst>
              <a:ext uri="{FF2B5EF4-FFF2-40B4-BE49-F238E27FC236}">
                <a16:creationId xmlns:a16="http://schemas.microsoft.com/office/drawing/2014/main" id="{A24DC6BF-B2D3-DEE5-A187-CE0F86D93CB4}"/>
              </a:ext>
            </a:extLst>
          </p:cNvPr>
          <p:cNvSpPr>
            <a:spLocks noGrp="1"/>
          </p:cNvSpPr>
          <p:nvPr>
            <p:ph type="dt" sz="half" idx="2"/>
          </p:nvPr>
        </p:nvSpPr>
        <p:spPr>
          <a:xfrm>
            <a:off x="8604250" y="6542088"/>
            <a:ext cx="2743200" cy="231775"/>
          </a:xfrm>
          <a:prstGeom prst="rect">
            <a:avLst/>
          </a:prstGeom>
        </p:spPr>
        <p:txBody>
          <a:bodyPr vert="horz" lIns="91440" tIns="45720" rIns="91440" bIns="45720" rtlCol="0" anchor="ctr">
            <a:spAutoFit/>
          </a:bodyPr>
          <a:lstStyle>
            <a:lvl1pPr algn="r" eaLnBrk="1" fontAlgn="auto" hangingPunct="1">
              <a:spcBef>
                <a:spcPts val="0"/>
              </a:spcBef>
              <a:spcAft>
                <a:spcPts val="0"/>
              </a:spcAft>
              <a:defRPr sz="900">
                <a:solidFill>
                  <a:schemeClr val="bg1"/>
                </a:solidFill>
                <a:latin typeface="+mn-lt"/>
              </a:defRPr>
            </a:lvl1pPr>
          </a:lstStyle>
          <a:p>
            <a:pPr>
              <a:defRPr/>
            </a:pPr>
            <a:fld id="{20BBB2E2-CC26-4239-A610-53654AB87668}" type="datetime1">
              <a:rPr lang="en-US"/>
              <a:pPr>
                <a:defRPr/>
              </a:pPr>
              <a:t>1/18/26</a:t>
            </a:fld>
            <a:endParaRPr lang="en-US"/>
          </a:p>
        </p:txBody>
      </p:sp>
      <p:sp>
        <p:nvSpPr>
          <p:cNvPr id="6" name="Slide Number Placeholder 5">
            <a:extLst>
              <a:ext uri="{FF2B5EF4-FFF2-40B4-BE49-F238E27FC236}">
                <a16:creationId xmlns:a16="http://schemas.microsoft.com/office/drawing/2014/main" id="{BDB6D88D-DE92-5387-0FE6-1FC0DFA84847}"/>
              </a:ext>
            </a:extLst>
          </p:cNvPr>
          <p:cNvSpPr>
            <a:spLocks noGrp="1"/>
          </p:cNvSpPr>
          <p:nvPr>
            <p:ph type="sldNum" sz="quarter" idx="4"/>
          </p:nvPr>
        </p:nvSpPr>
        <p:spPr>
          <a:xfrm>
            <a:off x="11418888" y="6542088"/>
            <a:ext cx="368300" cy="231775"/>
          </a:xfrm>
          <a:prstGeom prst="rect">
            <a:avLst/>
          </a:prstGeom>
        </p:spPr>
        <p:txBody>
          <a:bodyPr vert="horz" lIns="91440" tIns="45720" rIns="91440" bIns="45720" rtlCol="0" anchor="ctr">
            <a:spAutoFit/>
          </a:bodyPr>
          <a:lstStyle>
            <a:lvl1pPr algn="l" eaLnBrk="1" fontAlgn="auto" hangingPunct="1">
              <a:spcBef>
                <a:spcPts val="0"/>
              </a:spcBef>
              <a:spcAft>
                <a:spcPts val="0"/>
              </a:spcAft>
              <a:defRPr sz="900">
                <a:solidFill>
                  <a:schemeClr val="bg1"/>
                </a:solidFill>
                <a:latin typeface="+mn-lt"/>
              </a:defRPr>
            </a:lvl1pPr>
          </a:lstStyle>
          <a:p>
            <a:pPr>
              <a:defRPr/>
            </a:pPr>
            <a:fld id="{DEBAC383-E36A-489F-ADF8-C4D7B9AD7F0A}" type="slidenum">
              <a:rPr lang="en-US"/>
              <a:pPr>
                <a:defRPr/>
              </a:pPr>
              <a:t>‹#›</a:t>
            </a:fld>
            <a:endParaRPr lang="en-US"/>
          </a:p>
        </p:txBody>
      </p:sp>
      <p:grpSp>
        <p:nvGrpSpPr>
          <p:cNvPr id="2060" name="object 2">
            <a:extLst>
              <a:ext uri="{FF2B5EF4-FFF2-40B4-BE49-F238E27FC236}">
                <a16:creationId xmlns:a16="http://schemas.microsoft.com/office/drawing/2014/main" id="{29B32883-A8DC-5FD3-EC5C-5A22E516819B}"/>
              </a:ext>
            </a:extLst>
          </p:cNvPr>
          <p:cNvGrpSpPr>
            <a:grpSpLocks/>
          </p:cNvGrpSpPr>
          <p:nvPr/>
        </p:nvGrpSpPr>
        <p:grpSpPr bwMode="auto">
          <a:xfrm>
            <a:off x="11002963" y="-4763"/>
            <a:ext cx="1163637" cy="1343026"/>
            <a:chOff x="11002424" y="0"/>
            <a:chExt cx="1163955" cy="1342390"/>
          </a:xfrm>
        </p:grpSpPr>
        <p:sp>
          <p:nvSpPr>
            <p:cNvPr id="2061" name="object 3">
              <a:extLst>
                <a:ext uri="{FF2B5EF4-FFF2-40B4-BE49-F238E27FC236}">
                  <a16:creationId xmlns:a16="http://schemas.microsoft.com/office/drawing/2014/main" id="{B4220D41-8895-14AE-18F8-8CDFF843E725}"/>
                </a:ext>
              </a:extLst>
            </p:cNvPr>
            <p:cNvSpPr>
              <a:spLocks/>
            </p:cNvSpPr>
            <p:nvPr/>
          </p:nvSpPr>
          <p:spPr bwMode="auto">
            <a:xfrm>
              <a:off x="11004596" y="673297"/>
              <a:ext cx="1162050" cy="669290"/>
            </a:xfrm>
            <a:custGeom>
              <a:avLst/>
              <a:gdLst>
                <a:gd name="T0" fmla="*/ 765771 w 1162050"/>
                <a:gd name="T1" fmla="*/ 669023 h 669290"/>
                <a:gd name="T2" fmla="*/ 0 w 1162050"/>
                <a:gd name="T3" fmla="*/ 669023 h 669290"/>
                <a:gd name="T4" fmla="*/ 382649 w 1162050"/>
                <a:gd name="T5" fmla="*/ 0 h 669290"/>
                <a:gd name="T6" fmla="*/ 1161600 w 1162050"/>
                <a:gd name="T7" fmla="*/ 1881 h 669290"/>
                <a:gd name="T8" fmla="*/ 765771 w 1162050"/>
                <a:gd name="T9" fmla="*/ 669023 h 6692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50" h="669290">
                  <a:moveTo>
                    <a:pt x="765771" y="669023"/>
                  </a:moveTo>
                  <a:lnTo>
                    <a:pt x="0" y="669023"/>
                  </a:lnTo>
                  <a:lnTo>
                    <a:pt x="382649" y="0"/>
                  </a:lnTo>
                  <a:lnTo>
                    <a:pt x="1161600" y="1881"/>
                  </a:lnTo>
                  <a:lnTo>
                    <a:pt x="765771" y="6690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6" name="object 4">
              <a:extLst>
                <a:ext uri="{FF2B5EF4-FFF2-40B4-BE49-F238E27FC236}">
                  <a16:creationId xmlns:a16="http://schemas.microsoft.com/office/drawing/2014/main" id="{152AF013-71FB-2A6D-FFA2-AC465B10D3AB}"/>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lIns="0" tIns="0" rIns="0" bIns="0"/>
            <a:lstStyle/>
            <a:p>
              <a:pPr eaLnBrk="1" fontAlgn="auto" hangingPunct="1">
                <a:spcBef>
                  <a:spcPts val="0"/>
                </a:spcBef>
                <a:spcAft>
                  <a:spcPts val="0"/>
                </a:spcAft>
                <a:defRPr/>
              </a:pPr>
              <a:endParaRPr>
                <a:latin typeface="+mn-lt"/>
              </a:endParaRPr>
            </a:p>
          </p:txBody>
        </p:sp>
      </p:grpSp>
    </p:spTree>
    <p:extLst>
      <p:ext uri="{BB962C8B-B14F-4D97-AF65-F5344CB8AC3E}">
        <p14:creationId xmlns:p14="http://schemas.microsoft.com/office/powerpoint/2010/main" val="227831480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Lst>
  <p:hf hdr="0" dt="0"/>
  <p:txStyles>
    <p:titleStyle>
      <a:lvl1pPr algn="l" rtl="0" eaLnBrk="0" fontAlgn="base" hangingPunct="0">
        <a:lnSpc>
          <a:spcPct val="90000"/>
        </a:lnSpc>
        <a:spcBef>
          <a:spcPct val="0"/>
        </a:spcBef>
        <a:spcAft>
          <a:spcPct val="0"/>
        </a:spcAft>
        <a:defRPr sz="2800"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2pPr>
      <a:lvl3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3pPr>
      <a:lvl4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4pPr>
      <a:lvl5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5pPr>
      <a:lvl6pPr marL="457200" algn="l" rtl="0" fontAlgn="base">
        <a:lnSpc>
          <a:spcPct val="90000"/>
        </a:lnSpc>
        <a:spcBef>
          <a:spcPct val="0"/>
        </a:spcBef>
        <a:spcAft>
          <a:spcPct val="0"/>
        </a:spcAft>
        <a:defRPr sz="2800">
          <a:solidFill>
            <a:schemeClr val="accent1"/>
          </a:solidFill>
          <a:latin typeface="Arial" panose="020B0604020202020204" pitchFamily="34" charset="0"/>
        </a:defRPr>
      </a:lvl6pPr>
      <a:lvl7pPr marL="914400" algn="l" rtl="0" fontAlgn="base">
        <a:lnSpc>
          <a:spcPct val="90000"/>
        </a:lnSpc>
        <a:spcBef>
          <a:spcPct val="0"/>
        </a:spcBef>
        <a:spcAft>
          <a:spcPct val="0"/>
        </a:spcAft>
        <a:defRPr sz="2800">
          <a:solidFill>
            <a:schemeClr val="accent1"/>
          </a:solidFill>
          <a:latin typeface="Arial" panose="020B0604020202020204" pitchFamily="34" charset="0"/>
        </a:defRPr>
      </a:lvl7pPr>
      <a:lvl8pPr marL="1371600" algn="l" rtl="0" fontAlgn="base">
        <a:lnSpc>
          <a:spcPct val="90000"/>
        </a:lnSpc>
        <a:spcBef>
          <a:spcPct val="0"/>
        </a:spcBef>
        <a:spcAft>
          <a:spcPct val="0"/>
        </a:spcAft>
        <a:defRPr sz="2800">
          <a:solidFill>
            <a:schemeClr val="accent1"/>
          </a:solidFill>
          <a:latin typeface="Arial" panose="020B0604020202020204" pitchFamily="34" charset="0"/>
        </a:defRPr>
      </a:lvl8pPr>
      <a:lvl9pPr marL="1828800" algn="l" rtl="0" fontAlgn="base">
        <a:lnSpc>
          <a:spcPct val="90000"/>
        </a:lnSpc>
        <a:spcBef>
          <a:spcPct val="0"/>
        </a:spcBef>
        <a:spcAft>
          <a:spcPct val="0"/>
        </a:spcAft>
        <a:defRPr sz="2800">
          <a:solidFill>
            <a:schemeClr val="accent1"/>
          </a:solidFill>
          <a:latin typeface="Arial" panose="020B0604020202020204" pitchFamily="34" charset="0"/>
        </a:defRPr>
      </a:lvl9pPr>
    </p:titleStyle>
    <p:bodyStyle>
      <a:lvl1pPr marL="357188" indent="-357188" algn="l" rtl="0" eaLnBrk="0" fontAlgn="base" hangingPunct="0">
        <a:spcBef>
          <a:spcPts val="800"/>
        </a:spcBef>
        <a:spcAft>
          <a:spcPct val="0"/>
        </a:spcAft>
        <a:buBlip>
          <a:blip r:embed="rId15"/>
        </a:buBlip>
        <a:defRPr sz="1600" kern="1200">
          <a:solidFill>
            <a:schemeClr val="bg1"/>
          </a:solidFill>
          <a:latin typeface="+mn-lt"/>
          <a:ea typeface="+mn-ea"/>
          <a:cs typeface="+mn-cs"/>
        </a:defRPr>
      </a:lvl1pPr>
      <a:lvl2pPr marL="715963"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2pPr>
      <a:lvl3pPr marL="1077913" indent="-361950"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3pPr>
      <a:lvl4pPr marL="1435100" indent="-357188"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4pPr>
      <a:lvl5pPr marL="1793875"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9565D-765A-4369-86D9-D6D71C76DFFD}"/>
              </a:ext>
            </a:extLst>
          </p:cNvPr>
          <p:cNvGraphicFramePr>
            <a:graphicFrameLocks noChangeAspect="1"/>
          </p:cNvGraphicFramePr>
          <p:nvPr userDrawn="1">
            <p:custDataLst>
              <p:tags r:id="rId21"/>
            </p:custDataLst>
            <p:extLst>
              <p:ext uri="{D42A27DB-BD31-4B8C-83A1-F6EECF244321}">
                <p14:modId xmlns:p14="http://schemas.microsoft.com/office/powerpoint/2010/main" val="2416767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69" imgH="375" progId="TCLayout.ActiveDocument.1">
                  <p:embed/>
                </p:oleObj>
              </mc:Choice>
              <mc:Fallback>
                <p:oleObj name="think-cell Slide" r:id="rId22" imgW="369" imgH="375" progId="TCLayout.ActiveDocument.1">
                  <p:embed/>
                  <p:pic>
                    <p:nvPicPr>
                      <p:cNvPr id="8" name="Object 7" hidden="1">
                        <a:extLst>
                          <a:ext uri="{FF2B5EF4-FFF2-40B4-BE49-F238E27FC236}">
                            <a16:creationId xmlns:a16="http://schemas.microsoft.com/office/drawing/2014/main" id="{F419565D-765A-4369-86D9-D6D71C76DFF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1" name="object 4">
            <a:extLst>
              <a:ext uri="{FF2B5EF4-FFF2-40B4-BE49-F238E27FC236}">
                <a16:creationId xmlns:a16="http://schemas.microsoft.com/office/drawing/2014/main" id="{A0D17701-DB7D-4952-A327-9E562AD78B44}"/>
              </a:ext>
            </a:extLst>
          </p:cNvPr>
          <p:cNvSpPr/>
          <p:nvPr userDrawn="1"/>
        </p:nvSpPr>
        <p:spPr>
          <a:xfrm>
            <a:off x="0" y="6341177"/>
            <a:ext cx="12192000" cy="541020"/>
          </a:xfrm>
          <a:custGeom>
            <a:avLst/>
            <a:gdLst/>
            <a:ahLst/>
            <a:cxnLst/>
            <a:rect l="l" t="t" r="r" b="b"/>
            <a:pathLst>
              <a:path w="12192000" h="541020">
                <a:moveTo>
                  <a:pt x="12192000" y="0"/>
                </a:moveTo>
                <a:lnTo>
                  <a:pt x="0" y="0"/>
                </a:lnTo>
                <a:lnTo>
                  <a:pt x="0" y="541020"/>
                </a:lnTo>
                <a:lnTo>
                  <a:pt x="12192000" y="541020"/>
                </a:lnTo>
                <a:lnTo>
                  <a:pt x="12192000" y="0"/>
                </a:lnTo>
                <a:close/>
              </a:path>
            </a:pathLst>
          </a:custGeom>
          <a:solidFill>
            <a:srgbClr val="364657"/>
          </a:solidFill>
        </p:spPr>
        <p:txBody>
          <a:bodyPr wrap="square" lIns="0" tIns="0" rIns="0" bIns="0" rtlCol="0"/>
          <a:lstStyle/>
          <a:p>
            <a:endParaRPr/>
          </a:p>
        </p:txBody>
      </p:sp>
      <p:sp>
        <p:nvSpPr>
          <p:cNvPr id="12" name="object 6">
            <a:extLst>
              <a:ext uri="{FF2B5EF4-FFF2-40B4-BE49-F238E27FC236}">
                <a16:creationId xmlns:a16="http://schemas.microsoft.com/office/drawing/2014/main" id="{7AAA184E-5A80-4CE3-9C7E-BC5917BC9237}"/>
              </a:ext>
            </a:extLst>
          </p:cNvPr>
          <p:cNvSpPr/>
          <p:nvPr userDrawn="1"/>
        </p:nvSpPr>
        <p:spPr>
          <a:xfrm>
            <a:off x="695326" y="6479260"/>
            <a:ext cx="634364" cy="240029"/>
          </a:xfrm>
          <a:custGeom>
            <a:avLst/>
            <a:gdLst/>
            <a:ahLst/>
            <a:cxnLst/>
            <a:rect l="l" t="t"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rgbClr val="00A89F"/>
          </a:solidFill>
        </p:spPr>
        <p:txBody>
          <a:bodyPr wrap="square" lIns="0" tIns="0" rIns="0" bIns="0" rtlCol="0"/>
          <a:lstStyle/>
          <a:p>
            <a:endParaRPr/>
          </a:p>
        </p:txBody>
      </p:sp>
      <p:sp>
        <p:nvSpPr>
          <p:cNvPr id="2" name="Title Placeholder 1">
            <a:extLst>
              <a:ext uri="{FF2B5EF4-FFF2-40B4-BE49-F238E27FC236}">
                <a16:creationId xmlns:a16="http://schemas.microsoft.com/office/drawing/2014/main" id="{D4A6509A-A6B2-4121-90F2-F0A6BCB7CBB6}"/>
              </a:ext>
            </a:extLst>
          </p:cNvPr>
          <p:cNvSpPr>
            <a:spLocks noGrp="1"/>
          </p:cNvSpPr>
          <p:nvPr>
            <p:ph type="title"/>
          </p:nvPr>
        </p:nvSpPr>
        <p:spPr>
          <a:xfrm>
            <a:off x="599660" y="592280"/>
            <a:ext cx="10493675" cy="535531"/>
          </a:xfrm>
          <a:prstGeom prst="rect">
            <a:avLst/>
          </a:prstGeom>
        </p:spPr>
        <p:txBody>
          <a:bodyPr vert="horz" wrap="square" lIns="91440" tIns="45720" rIns="91440" bIns="4572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29DBA88A-0FCF-4042-9F41-07BA0A4266CD}"/>
              </a:ext>
            </a:extLst>
          </p:cNvPr>
          <p:cNvSpPr>
            <a:spLocks noGrp="1"/>
          </p:cNvSpPr>
          <p:nvPr>
            <p:ph type="body" idx="1"/>
          </p:nvPr>
        </p:nvSpPr>
        <p:spPr>
          <a:xfrm>
            <a:off x="599662" y="1825627"/>
            <a:ext cx="10897013" cy="1733808"/>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8EC09A9-9B25-4D7E-8D92-D148E2992883}"/>
              </a:ext>
            </a:extLst>
          </p:cNvPr>
          <p:cNvSpPr>
            <a:spLocks noGrp="1"/>
          </p:cNvSpPr>
          <p:nvPr>
            <p:ph type="ftr" sz="quarter" idx="3"/>
          </p:nvPr>
        </p:nvSpPr>
        <p:spPr>
          <a:xfrm>
            <a:off x="1530630" y="6542764"/>
            <a:ext cx="4463774" cy="230832"/>
          </a:xfrm>
          <a:prstGeom prst="rect">
            <a:avLst/>
          </a:prstGeom>
        </p:spPr>
        <p:txBody>
          <a:bodyPr vert="horz" wrap="square" lIns="91440" tIns="45720" rIns="91440" bIns="45720" rtlCol="0" anchor="ctr">
            <a:spAutoFit/>
          </a:bodyPr>
          <a:lstStyle>
            <a:lvl1pPr algn="ctr">
              <a:defRPr sz="900">
                <a:solidFill>
                  <a:schemeClr val="bg1"/>
                </a:solidFill>
              </a:defRPr>
            </a:lvl1pPr>
          </a:lstStyle>
          <a:p>
            <a:pPr algn="l"/>
            <a:r>
              <a:rPr lang="en-US" noProof="0"/>
              <a:t>HAVFRUE System information</a:t>
            </a:r>
          </a:p>
        </p:txBody>
      </p:sp>
      <p:sp>
        <p:nvSpPr>
          <p:cNvPr id="24" name="TextBox 23">
            <a:extLst>
              <a:ext uri="{FF2B5EF4-FFF2-40B4-BE49-F238E27FC236}">
                <a16:creationId xmlns:a16="http://schemas.microsoft.com/office/drawing/2014/main" id="{E73BBECA-6FCD-4A7B-8C41-435205859EEA}"/>
              </a:ext>
            </a:extLst>
          </p:cNvPr>
          <p:cNvSpPr txBox="1"/>
          <p:nvPr userDrawn="1"/>
        </p:nvSpPr>
        <p:spPr>
          <a:xfrm>
            <a:off x="4156769" y="6542765"/>
            <a:ext cx="4249531" cy="230832"/>
          </a:xfrm>
          <a:prstGeom prst="rect">
            <a:avLst/>
          </a:prstGeom>
          <a:noFill/>
        </p:spPr>
        <p:txBody>
          <a:bodyPr wrap="square" rtlCol="0">
            <a:spAutoFit/>
          </a:bodyPr>
          <a:lstStyle/>
          <a:p>
            <a:pPr algn="ctr"/>
            <a:r>
              <a:rPr lang="en-US" sz="900">
                <a:solidFill>
                  <a:schemeClr val="bg1"/>
                </a:solidFill>
              </a:rPr>
              <a:t>INTERNAL</a:t>
            </a:r>
          </a:p>
        </p:txBody>
      </p:sp>
      <p:grpSp>
        <p:nvGrpSpPr>
          <p:cNvPr id="13" name="object 2">
            <a:extLst>
              <a:ext uri="{FF2B5EF4-FFF2-40B4-BE49-F238E27FC236}">
                <a16:creationId xmlns:a16="http://schemas.microsoft.com/office/drawing/2014/main" id="{D2C4BBA6-270B-4E6B-AEF5-356BBD8D65AD}"/>
              </a:ext>
            </a:extLst>
          </p:cNvPr>
          <p:cNvGrpSpPr/>
          <p:nvPr userDrawn="1"/>
        </p:nvGrpSpPr>
        <p:grpSpPr>
          <a:xfrm>
            <a:off x="11002427" y="-4195"/>
            <a:ext cx="1163956" cy="1342390"/>
            <a:chOff x="11002424" y="0"/>
            <a:chExt cx="1163955" cy="1342390"/>
          </a:xfrm>
        </p:grpSpPr>
        <p:sp>
          <p:nvSpPr>
            <p:cNvPr id="14" name="object 3">
              <a:extLst>
                <a:ext uri="{FF2B5EF4-FFF2-40B4-BE49-F238E27FC236}">
                  <a16:creationId xmlns:a16="http://schemas.microsoft.com/office/drawing/2014/main" id="{7E82AE80-472F-4785-B54D-B85FECDD53B6}"/>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endParaRPr/>
            </a:p>
          </p:txBody>
        </p:sp>
        <p:sp>
          <p:nvSpPr>
            <p:cNvPr id="15" name="object 4">
              <a:extLst>
                <a:ext uri="{FF2B5EF4-FFF2-40B4-BE49-F238E27FC236}">
                  <a16:creationId xmlns:a16="http://schemas.microsoft.com/office/drawing/2014/main" id="{FDDC25D2-C652-4016-A855-8826D6F36917}"/>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endParaRPr/>
            </a:p>
          </p:txBody>
        </p:sp>
      </p:grpSp>
    </p:spTree>
    <p:extLst>
      <p:ext uri="{BB962C8B-B14F-4D97-AF65-F5344CB8AC3E}">
        <p14:creationId xmlns:p14="http://schemas.microsoft.com/office/powerpoint/2010/main" val="3080407090"/>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2" r:id="rId14"/>
    <p:sldLayoutId id="2147483883" r:id="rId15"/>
    <p:sldLayoutId id="2147483884" r:id="rId16"/>
    <p:sldLayoutId id="2147483885" r:id="rId17"/>
    <p:sldLayoutId id="2147483886" r:id="rId18"/>
    <p:sldLayoutId id="2147483887" r:id="rId19"/>
  </p:sldLayoutIdLst>
  <p:hf hdr="0" dt="0"/>
  <p:txStyles>
    <p:titleStyle>
      <a:lvl1pPr algn="l" defTabSz="914433"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357201" indent="-357201" algn="l" defTabSz="914433" rtl="0" eaLnBrk="1" latinLnBrk="0" hangingPunct="1">
        <a:lnSpc>
          <a:spcPct val="100000"/>
        </a:lnSpc>
        <a:spcBef>
          <a:spcPts val="800"/>
        </a:spcBef>
        <a:buFontTx/>
        <a:buBlip>
          <a:blip r:embed="rId24"/>
        </a:buBlip>
        <a:defRPr sz="1600" kern="1200">
          <a:solidFill>
            <a:schemeClr val="tx1"/>
          </a:solidFill>
          <a:latin typeface="+mn-lt"/>
          <a:ea typeface="+mn-ea"/>
          <a:cs typeface="+mn-cs"/>
        </a:defRPr>
      </a:lvl1pPr>
      <a:lvl2pPr marL="715989" indent="-358790" algn="l" defTabSz="914433"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53" indent="-361965" algn="l" defTabSz="914433"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54" indent="-357201" algn="l" defTabSz="914433"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944" indent="-358790" algn="l" defTabSz="914433"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96" indent="-228609" algn="l" defTabSz="9144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913" indent="-228609" algn="l" defTabSz="9144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129" indent="-228609" algn="l" defTabSz="9144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345" indent="-228609" algn="l" defTabSz="91443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33" rtl="0" eaLnBrk="1" latinLnBrk="0" hangingPunct="1">
        <a:defRPr sz="1801" kern="1200">
          <a:solidFill>
            <a:schemeClr val="tx1"/>
          </a:solidFill>
          <a:latin typeface="+mn-lt"/>
          <a:ea typeface="+mn-ea"/>
          <a:cs typeface="+mn-cs"/>
        </a:defRPr>
      </a:lvl1pPr>
      <a:lvl2pPr marL="457216" algn="l" defTabSz="914433" rtl="0" eaLnBrk="1" latinLnBrk="0" hangingPunct="1">
        <a:defRPr sz="1801" kern="1200">
          <a:solidFill>
            <a:schemeClr val="tx1"/>
          </a:solidFill>
          <a:latin typeface="+mn-lt"/>
          <a:ea typeface="+mn-ea"/>
          <a:cs typeface="+mn-cs"/>
        </a:defRPr>
      </a:lvl2pPr>
      <a:lvl3pPr marL="914433" algn="l" defTabSz="914433" rtl="0" eaLnBrk="1" latinLnBrk="0" hangingPunct="1">
        <a:defRPr sz="1801" kern="1200">
          <a:solidFill>
            <a:schemeClr val="tx1"/>
          </a:solidFill>
          <a:latin typeface="+mn-lt"/>
          <a:ea typeface="+mn-ea"/>
          <a:cs typeface="+mn-cs"/>
        </a:defRPr>
      </a:lvl3pPr>
      <a:lvl4pPr marL="1371653" algn="l" defTabSz="914433" rtl="0" eaLnBrk="1" latinLnBrk="0" hangingPunct="1">
        <a:defRPr sz="1801" kern="1200">
          <a:solidFill>
            <a:schemeClr val="tx1"/>
          </a:solidFill>
          <a:latin typeface="+mn-lt"/>
          <a:ea typeface="+mn-ea"/>
          <a:cs typeface="+mn-cs"/>
        </a:defRPr>
      </a:lvl4pPr>
      <a:lvl5pPr marL="1828869" algn="l" defTabSz="914433" rtl="0" eaLnBrk="1" latinLnBrk="0" hangingPunct="1">
        <a:defRPr sz="1801" kern="1200">
          <a:solidFill>
            <a:schemeClr val="tx1"/>
          </a:solidFill>
          <a:latin typeface="+mn-lt"/>
          <a:ea typeface="+mn-ea"/>
          <a:cs typeface="+mn-cs"/>
        </a:defRPr>
      </a:lvl5pPr>
      <a:lvl6pPr marL="2286085" algn="l" defTabSz="914433" rtl="0" eaLnBrk="1" latinLnBrk="0" hangingPunct="1">
        <a:defRPr sz="1801" kern="1200">
          <a:solidFill>
            <a:schemeClr val="tx1"/>
          </a:solidFill>
          <a:latin typeface="+mn-lt"/>
          <a:ea typeface="+mn-ea"/>
          <a:cs typeface="+mn-cs"/>
        </a:defRPr>
      </a:lvl6pPr>
      <a:lvl7pPr marL="2743302" algn="l" defTabSz="914433" rtl="0" eaLnBrk="1" latinLnBrk="0" hangingPunct="1">
        <a:defRPr sz="1801" kern="1200">
          <a:solidFill>
            <a:schemeClr val="tx1"/>
          </a:solidFill>
          <a:latin typeface="+mn-lt"/>
          <a:ea typeface="+mn-ea"/>
          <a:cs typeface="+mn-cs"/>
        </a:defRPr>
      </a:lvl7pPr>
      <a:lvl8pPr marL="3200522" algn="l" defTabSz="914433" rtl="0" eaLnBrk="1" latinLnBrk="0" hangingPunct="1">
        <a:defRPr sz="1801" kern="1200">
          <a:solidFill>
            <a:schemeClr val="tx1"/>
          </a:solidFill>
          <a:latin typeface="+mn-lt"/>
          <a:ea typeface="+mn-ea"/>
          <a:cs typeface="+mn-cs"/>
        </a:defRPr>
      </a:lvl8pPr>
      <a:lvl9pPr marL="3657738" algn="l" defTabSz="914433"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7">
          <p15:clr>
            <a:srgbClr val="F26B43"/>
          </p15:clr>
        </p15:guide>
        <p15:guide id="2" orient="horz" pos="618">
          <p15:clr>
            <a:srgbClr val="F26B43"/>
          </p15:clr>
        </p15:guide>
        <p15:guide id="3" orient="horz" pos="3997">
          <p15:clr>
            <a:srgbClr val="F26B43"/>
          </p15:clr>
        </p15:guide>
        <p15:guide id="4" pos="7243">
          <p15:clr>
            <a:srgbClr val="F26B43"/>
          </p15:clr>
        </p15:guide>
        <p15:guide id="5" orient="horz" pos="42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xml"/><Relationship Id="rId1" Type="http://schemas.openxmlformats.org/officeDocument/2006/relationships/tags" Target="../tags/tag109.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hyperlink" Target="https://app.electricitymaps.com/map?utm_source=electricitymap.org&amp;utm_medium=website&amp;utm_campaign=banner" TargetMode="External"/><Relationship Id="rId4"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hyperlink" Target="https://www.youtube.com/watch?v=MZRm-u5xCqA&amp;list=PLDh22kRg_AAkopvk3WhskQx7PS9pjCB-q&amp;index=5" TargetMode="External"/><Relationship Id="rId2" Type="http://schemas.openxmlformats.org/officeDocument/2006/relationships/image" Target="../media/image61.png"/><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71.jpeg"/><Relationship Id="rId4" Type="http://schemas.openxmlformats.org/officeDocument/2006/relationships/image" Target="../media/image7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74.png"/><Relationship Id="rId2" Type="http://schemas.openxmlformats.org/officeDocument/2006/relationships/slideLayout" Target="../slideLayouts/slideLayout13.xml"/><Relationship Id="rId1" Type="http://schemas.openxmlformats.org/officeDocument/2006/relationships/tags" Target="../tags/tag146.xml"/><Relationship Id="rId6" Type="http://schemas.openxmlformats.org/officeDocument/2006/relationships/image" Target="../media/image73.jpeg"/><Relationship Id="rId5" Type="http://schemas.openxmlformats.org/officeDocument/2006/relationships/image" Target="../media/image72.emf"/><Relationship Id="rId4" Type="http://schemas.openxmlformats.org/officeDocument/2006/relationships/oleObject" Target="../embeddings/oleObject84.bin"/></Relationships>
</file>

<file path=ppt/slides/_rels/slide21.xml.rels><?xml version="1.0" encoding="UTF-8" standalone="yes"?>
<Relationships xmlns="http://schemas.openxmlformats.org/package/2006/relationships"><Relationship Id="rId8" Type="http://schemas.openxmlformats.org/officeDocument/2006/relationships/image" Target="../media/image79.jpeg"/><Relationship Id="rId13" Type="http://schemas.openxmlformats.org/officeDocument/2006/relationships/image" Target="../media/image84.png"/><Relationship Id="rId3" Type="http://schemas.openxmlformats.org/officeDocument/2006/relationships/image" Target="../media/image75.png"/><Relationship Id="rId7" Type="http://schemas.openxmlformats.org/officeDocument/2006/relationships/image" Target="../media/image78.jpeg"/><Relationship Id="rId12" Type="http://schemas.openxmlformats.org/officeDocument/2006/relationships/image" Target="../media/image83.jpe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77.jpeg"/><Relationship Id="rId11" Type="http://schemas.openxmlformats.org/officeDocument/2006/relationships/image" Target="../media/image82.jpeg"/><Relationship Id="rId5" Type="http://schemas.openxmlformats.org/officeDocument/2006/relationships/image" Target="../media/image76.jpeg"/><Relationship Id="rId10" Type="http://schemas.openxmlformats.org/officeDocument/2006/relationships/image" Target="../media/image81.jpeg"/><Relationship Id="rId4" Type="http://schemas.openxmlformats.org/officeDocument/2006/relationships/chart" Target="../charts/chart4.xml"/><Relationship Id="rId9" Type="http://schemas.openxmlformats.org/officeDocument/2006/relationships/image" Target="../media/image80.jpeg"/></Relationships>
</file>

<file path=ppt/slides/_rels/slide2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86.png"/></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89.png"/><Relationship Id="rId4" Type="http://schemas.openxmlformats.org/officeDocument/2006/relationships/image" Target="../media/image88.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92.png"/><Relationship Id="rId4" Type="http://schemas.openxmlformats.org/officeDocument/2006/relationships/image" Target="../media/image91.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93.jpeg"/><Relationship Id="rId7"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jpeg"/></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3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00.jpe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45.xml"/><Relationship Id="rId4" Type="http://schemas.openxmlformats.org/officeDocument/2006/relationships/image" Target="../media/image10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oleObject" Target="../embeddings/oleObject85.bin"/><Relationship Id="rId5" Type="http://schemas.openxmlformats.org/officeDocument/2006/relationships/notesSlide" Target="../notesSlides/notesSlide33.xml"/><Relationship Id="rId4" Type="http://schemas.openxmlformats.org/officeDocument/2006/relationships/slideLayout" Target="../slideLayouts/slideLayout42.xml"/><Relationship Id="rId9" Type="http://schemas.openxmlformats.org/officeDocument/2006/relationships/image" Target="../media/image103.png"/></Relationships>
</file>

<file path=ppt/slides/_rels/slide3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tags" Target="../tags/tag152.xml"/><Relationship Id="rId7"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oleObject" Target="../embeddings/oleObject86.bin"/><Relationship Id="rId11" Type="http://schemas.openxmlformats.org/officeDocument/2006/relationships/hyperlink" Target="https://www.youtube.com/watch?v=5NAXaew5u7w&amp;list=PLDh22kRg_AAl5Skd-_14UWUOCEca48H4E&amp;index=3" TargetMode="External"/><Relationship Id="rId5" Type="http://schemas.openxmlformats.org/officeDocument/2006/relationships/notesSlide" Target="../notesSlides/notesSlide34.xml"/><Relationship Id="rId10" Type="http://schemas.openxmlformats.org/officeDocument/2006/relationships/image" Target="../media/image105.jpeg"/><Relationship Id="rId4" Type="http://schemas.openxmlformats.org/officeDocument/2006/relationships/slideLayout" Target="../slideLayouts/slideLayout6.xml"/><Relationship Id="rId9" Type="http://schemas.openxmlformats.org/officeDocument/2006/relationships/image" Target="../media/image104.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4.xml"/><Relationship Id="rId1" Type="http://schemas.openxmlformats.org/officeDocument/2006/relationships/tags" Target="../tags/tag153.xml"/><Relationship Id="rId6" Type="http://schemas.openxmlformats.org/officeDocument/2006/relationships/image" Target="../media/image106.png"/><Relationship Id="rId5" Type="http://schemas.openxmlformats.org/officeDocument/2006/relationships/image" Target="../media/image72.emf"/><Relationship Id="rId4" Type="http://schemas.openxmlformats.org/officeDocument/2006/relationships/oleObject" Target="../embeddings/oleObject87.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4.xml"/><Relationship Id="rId7" Type="http://schemas.openxmlformats.org/officeDocument/2006/relationships/image" Target="../media/image24.jpeg"/><Relationship Id="rId2" Type="http://schemas.openxmlformats.org/officeDocument/2006/relationships/slideLayout" Target="../slideLayouts/slideLayout23.xml"/><Relationship Id="rId1" Type="http://schemas.openxmlformats.org/officeDocument/2006/relationships/tags" Target="../tags/tag110.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6.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39.svg"/><Relationship Id="rId26" Type="http://schemas.openxmlformats.org/officeDocument/2006/relationships/image" Target="../media/image45.jpeg"/><Relationship Id="rId3" Type="http://schemas.openxmlformats.org/officeDocument/2006/relationships/notesSlide" Target="../notesSlides/notesSlide5.xml"/><Relationship Id="rId21" Type="http://schemas.microsoft.com/office/2007/relationships/hdphoto" Target="../media/hdphoto1.wdp"/><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8.png"/><Relationship Id="rId25" Type="http://schemas.openxmlformats.org/officeDocument/2006/relationships/image" Target="../media/image44.jpeg"/><Relationship Id="rId2" Type="http://schemas.openxmlformats.org/officeDocument/2006/relationships/slideLayout" Target="../slideLayouts/slideLayout23.xml"/><Relationship Id="rId16" Type="http://schemas.openxmlformats.org/officeDocument/2006/relationships/image" Target="../media/image37.svg"/><Relationship Id="rId20" Type="http://schemas.openxmlformats.org/officeDocument/2006/relationships/image" Target="../media/image41.png"/><Relationship Id="rId1" Type="http://schemas.openxmlformats.org/officeDocument/2006/relationships/tags" Target="../tags/tag111.xml"/><Relationship Id="rId6" Type="http://schemas.openxmlformats.org/officeDocument/2006/relationships/image" Target="../media/image27.jpeg"/><Relationship Id="rId11" Type="http://schemas.openxmlformats.org/officeDocument/2006/relationships/image" Target="../media/image32.png"/><Relationship Id="rId24" Type="http://schemas.openxmlformats.org/officeDocument/2006/relationships/image" Target="../media/image43.png"/><Relationship Id="rId5" Type="http://schemas.openxmlformats.org/officeDocument/2006/relationships/image" Target="../media/image26.emf"/><Relationship Id="rId15" Type="http://schemas.openxmlformats.org/officeDocument/2006/relationships/image" Target="../media/image36.png"/><Relationship Id="rId23" Type="http://schemas.microsoft.com/office/2007/relationships/hdphoto" Target="../media/hdphoto2.wdp"/><Relationship Id="rId28" Type="http://schemas.microsoft.com/office/2007/relationships/hdphoto" Target="../media/hdphoto3.wdp"/><Relationship Id="rId10" Type="http://schemas.openxmlformats.org/officeDocument/2006/relationships/image" Target="../media/image31.svg"/><Relationship Id="rId19" Type="http://schemas.openxmlformats.org/officeDocument/2006/relationships/image" Target="../media/image40.png"/><Relationship Id="rId4" Type="http://schemas.openxmlformats.org/officeDocument/2006/relationships/oleObject" Target="../embeddings/oleObject81.bin"/><Relationship Id="rId9" Type="http://schemas.openxmlformats.org/officeDocument/2006/relationships/image" Target="../media/image30.png"/><Relationship Id="rId14" Type="http://schemas.openxmlformats.org/officeDocument/2006/relationships/image" Target="../media/image35.svg"/><Relationship Id="rId22" Type="http://schemas.openxmlformats.org/officeDocument/2006/relationships/image" Target="../media/image42.png"/><Relationship Id="rId27" Type="http://schemas.openxmlformats.org/officeDocument/2006/relationships/image" Target="../media/image46.pn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82.bin"/><Relationship Id="rId7" Type="http://schemas.microsoft.com/office/2007/relationships/hdphoto" Target="../media/hdphoto4.wdp"/><Relationship Id="rId12" Type="http://schemas.openxmlformats.org/officeDocument/2006/relationships/image" Target="../media/image51.png"/><Relationship Id="rId2" Type="http://schemas.openxmlformats.org/officeDocument/2006/relationships/slideLayout" Target="../slideLayouts/slideLayout23.xml"/><Relationship Id="rId1" Type="http://schemas.openxmlformats.org/officeDocument/2006/relationships/tags" Target="../tags/tag112.xml"/><Relationship Id="rId6" Type="http://schemas.openxmlformats.org/officeDocument/2006/relationships/image" Target="../media/image48.png"/><Relationship Id="rId11" Type="http://schemas.microsoft.com/office/2007/relationships/hdphoto" Target="../media/hdphoto6.wdp"/><Relationship Id="rId5" Type="http://schemas.openxmlformats.org/officeDocument/2006/relationships/image" Target="../media/image47.png"/><Relationship Id="rId10" Type="http://schemas.openxmlformats.org/officeDocument/2006/relationships/image" Target="../media/image50.png"/><Relationship Id="rId4" Type="http://schemas.openxmlformats.org/officeDocument/2006/relationships/image" Target="../media/image26.emf"/><Relationship Id="rId9" Type="http://schemas.microsoft.com/office/2007/relationships/hdphoto" Target="../media/hdphoto5.wdp"/></Relationships>
</file>

<file path=ppt/slides/_rels/slide8.xml.rels><?xml version="1.0" encoding="UTF-8" standalone="yes"?>
<Relationships xmlns="http://schemas.openxmlformats.org/package/2006/relationships"><Relationship Id="rId13" Type="http://schemas.openxmlformats.org/officeDocument/2006/relationships/tags" Target="../tags/tag125.xml"/><Relationship Id="rId18" Type="http://schemas.openxmlformats.org/officeDocument/2006/relationships/tags" Target="../tags/tag130.xml"/><Relationship Id="rId26" Type="http://schemas.openxmlformats.org/officeDocument/2006/relationships/tags" Target="../tags/tag138.xml"/><Relationship Id="rId39" Type="http://schemas.openxmlformats.org/officeDocument/2006/relationships/image" Target="../media/image54.png"/><Relationship Id="rId21" Type="http://schemas.openxmlformats.org/officeDocument/2006/relationships/tags" Target="../tags/tag133.xml"/><Relationship Id="rId34" Type="http://schemas.openxmlformats.org/officeDocument/2006/relationships/slideLayout" Target="../slideLayouts/slideLayout69.xml"/><Relationship Id="rId42" Type="http://schemas.openxmlformats.org/officeDocument/2006/relationships/chart" Target="../charts/chart2.xml"/><Relationship Id="rId47" Type="http://schemas.openxmlformats.org/officeDocument/2006/relationships/image" Target="../media/image58.jpeg"/><Relationship Id="rId7" Type="http://schemas.openxmlformats.org/officeDocument/2006/relationships/tags" Target="../tags/tag119.xml"/><Relationship Id="rId2" Type="http://schemas.openxmlformats.org/officeDocument/2006/relationships/tags" Target="../tags/tag114.xml"/><Relationship Id="rId16" Type="http://schemas.openxmlformats.org/officeDocument/2006/relationships/tags" Target="../tags/tag128.xml"/><Relationship Id="rId29" Type="http://schemas.openxmlformats.org/officeDocument/2006/relationships/tags" Target="../tags/tag141.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tags" Target="../tags/tag136.xml"/><Relationship Id="rId32" Type="http://schemas.openxmlformats.org/officeDocument/2006/relationships/tags" Target="../tags/tag144.xml"/><Relationship Id="rId37" Type="http://schemas.openxmlformats.org/officeDocument/2006/relationships/image" Target="../media/image52.emf"/><Relationship Id="rId40" Type="http://schemas.openxmlformats.org/officeDocument/2006/relationships/chart" Target="../charts/chart1.xml"/><Relationship Id="rId45" Type="http://schemas.openxmlformats.org/officeDocument/2006/relationships/image" Target="../media/image56.png"/><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tags" Target="../tags/tag135.xml"/><Relationship Id="rId28" Type="http://schemas.openxmlformats.org/officeDocument/2006/relationships/tags" Target="../tags/tag140.xml"/><Relationship Id="rId36" Type="http://schemas.openxmlformats.org/officeDocument/2006/relationships/oleObject" Target="../embeddings/oleObject83.bin"/><Relationship Id="rId10" Type="http://schemas.openxmlformats.org/officeDocument/2006/relationships/tags" Target="../tags/tag122.xml"/><Relationship Id="rId19" Type="http://schemas.openxmlformats.org/officeDocument/2006/relationships/tags" Target="../tags/tag131.xml"/><Relationship Id="rId31" Type="http://schemas.openxmlformats.org/officeDocument/2006/relationships/tags" Target="../tags/tag143.xml"/><Relationship Id="rId44" Type="http://schemas.openxmlformats.org/officeDocument/2006/relationships/image" Target="../media/image55.png"/><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tags" Target="../tags/tag134.xml"/><Relationship Id="rId27" Type="http://schemas.openxmlformats.org/officeDocument/2006/relationships/tags" Target="../tags/tag139.xml"/><Relationship Id="rId30" Type="http://schemas.openxmlformats.org/officeDocument/2006/relationships/tags" Target="../tags/tag142.xml"/><Relationship Id="rId35" Type="http://schemas.openxmlformats.org/officeDocument/2006/relationships/notesSlide" Target="../notesSlides/notesSlide6.xml"/><Relationship Id="rId43" Type="http://schemas.openxmlformats.org/officeDocument/2006/relationships/chart" Target="../charts/chart3.xml"/><Relationship Id="rId8" Type="http://schemas.openxmlformats.org/officeDocument/2006/relationships/tags" Target="../tags/tag120.xml"/><Relationship Id="rId3" Type="http://schemas.openxmlformats.org/officeDocument/2006/relationships/tags" Target="../tags/tag115.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tags" Target="../tags/tag137.xml"/><Relationship Id="rId33" Type="http://schemas.openxmlformats.org/officeDocument/2006/relationships/tags" Target="../tags/tag145.xml"/><Relationship Id="rId38" Type="http://schemas.openxmlformats.org/officeDocument/2006/relationships/image" Target="../media/image53.jpeg"/><Relationship Id="rId46" Type="http://schemas.openxmlformats.org/officeDocument/2006/relationships/image" Target="../media/image57.png"/><Relationship Id="rId20" Type="http://schemas.openxmlformats.org/officeDocument/2006/relationships/tags" Target="../tags/tag132.xml"/><Relationship Id="rId41" Type="http://schemas.openxmlformats.org/officeDocument/2006/relationships/image" Target="../media/image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3" hidden="1">
            <a:extLst>
              <a:ext uri="{FF2B5EF4-FFF2-40B4-BE49-F238E27FC236}">
                <a16:creationId xmlns:a16="http://schemas.microsoft.com/office/drawing/2014/main" id="{F40B8559-B479-FF40-217C-2E6FD3025877}"/>
              </a:ext>
            </a:extLst>
          </p:cNvPr>
          <p:cNvGraphicFramePr>
            <a:graphicFrameLocks noChangeAspect="1"/>
          </p:cNvGraphicFramePr>
          <p:nvPr>
            <p:custDataLst>
              <p:tags r:id="rId1"/>
            </p:custDataLst>
            <p:extLst>
              <p:ext uri="{D42A27DB-BD31-4B8C-83A1-F6EECF244321}">
                <p14:modId xmlns:p14="http://schemas.microsoft.com/office/powerpoint/2010/main" val="3982093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0482" name="Object 3" hidden="1">
                        <a:extLst>
                          <a:ext uri="{FF2B5EF4-FFF2-40B4-BE49-F238E27FC236}">
                            <a16:creationId xmlns:a16="http://schemas.microsoft.com/office/drawing/2014/main" id="{F40B8559-B479-FF40-217C-2E6FD30258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3" name="Title 4">
            <a:extLst>
              <a:ext uri="{FF2B5EF4-FFF2-40B4-BE49-F238E27FC236}">
                <a16:creationId xmlns:a16="http://schemas.microsoft.com/office/drawing/2014/main" id="{3DEDFFEB-E0BA-5BC1-3D47-8F73D2A0386A}"/>
              </a:ext>
            </a:extLst>
          </p:cNvPr>
          <p:cNvSpPr>
            <a:spLocks noGrp="1" noChangeArrowheads="1"/>
          </p:cNvSpPr>
          <p:nvPr>
            <p:ph type="ctrTitle"/>
          </p:nvPr>
        </p:nvSpPr>
        <p:spPr>
          <a:xfrm>
            <a:off x="596900" y="2733292"/>
            <a:ext cx="9144000" cy="1089529"/>
          </a:xfrm>
        </p:spPr>
        <p:txBody>
          <a:bodyPr vert="horz"/>
          <a:lstStyle/>
          <a:p>
            <a:pPr eaLnBrk="1" hangingPunct="1"/>
            <a:r>
              <a:rPr lang="en-GB" altLang="nb-NO" b="1"/>
              <a:t>Sustainability – Building sustainable digital infrastructure </a:t>
            </a:r>
            <a:endParaRPr lang="nb-NO" altLang="nb-NO" b="1"/>
          </a:p>
        </p:txBody>
      </p:sp>
      <p:sp>
        <p:nvSpPr>
          <p:cNvPr id="2" name="Undertittel 1">
            <a:extLst>
              <a:ext uri="{FF2B5EF4-FFF2-40B4-BE49-F238E27FC236}">
                <a16:creationId xmlns:a16="http://schemas.microsoft.com/office/drawing/2014/main" id="{73349DFC-3F15-7508-9DCF-0AC8485AD81C}"/>
              </a:ext>
            </a:extLst>
          </p:cNvPr>
          <p:cNvSpPr>
            <a:spLocks noGrp="1"/>
          </p:cNvSpPr>
          <p:nvPr>
            <p:ph type="subTitle" idx="1"/>
          </p:nvPr>
        </p:nvSpPr>
        <p:spPr>
          <a:xfrm>
            <a:off x="622929" y="4170735"/>
            <a:ext cx="9144000" cy="2328843"/>
          </a:xfrm>
        </p:spPr>
        <p:txBody>
          <a:bodyPr/>
          <a:lstStyle/>
          <a:p>
            <a:r>
              <a:rPr lang="nb-NO"/>
              <a:t>Bulk </a:t>
            </a:r>
            <a:r>
              <a:rPr lang="nb-NO" err="1"/>
              <a:t>Infrastructure</a:t>
            </a:r>
            <a:endParaRPr lang="nb-NO">
              <a:cs typeface="Arial"/>
            </a:endParaRPr>
          </a:p>
          <a:p>
            <a:endParaRPr lang="nb-NO">
              <a:cs typeface="Arial"/>
            </a:endParaRPr>
          </a:p>
          <a:p>
            <a:r>
              <a:rPr lang="nb-NO"/>
              <a:t>Merete Caubet</a:t>
            </a:r>
            <a:endParaRPr lang="nb-NO">
              <a:cs typeface="Arial"/>
            </a:endParaRPr>
          </a:p>
          <a:p>
            <a:endParaRPr lang="nb-NO">
              <a:cs typeface="Arial"/>
            </a:endParaRPr>
          </a:p>
          <a:p>
            <a:r>
              <a:rPr lang="en-US" sz="1100">
                <a:cs typeface="Arial"/>
              </a:rPr>
              <a:t>Classification: Public</a:t>
            </a:r>
          </a:p>
          <a:p>
            <a:endParaRPr lang="nb-NO"/>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BA71A-C9BD-0611-9AB8-BF04B008A869}"/>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96154F38-B399-7971-8F48-DF5EA9BE711E}"/>
              </a:ext>
            </a:extLst>
          </p:cNvPr>
          <p:cNvSpPr>
            <a:spLocks noGrp="1"/>
          </p:cNvSpPr>
          <p:nvPr>
            <p:ph type="title"/>
          </p:nvPr>
        </p:nvSpPr>
        <p:spPr>
          <a:xfrm>
            <a:off x="600075" y="400278"/>
            <a:ext cx="10485438" cy="479425"/>
          </a:xfrm>
        </p:spPr>
        <p:txBody>
          <a:bodyPr/>
          <a:lstStyle/>
          <a:p>
            <a:r>
              <a:rPr lang="en-GB"/>
              <a:t>What do we mean by “Sustainable Digital Infrastructure”?</a:t>
            </a:r>
          </a:p>
        </p:txBody>
      </p:sp>
      <p:sp>
        <p:nvSpPr>
          <p:cNvPr id="5" name="Content Placeholder 4">
            <a:extLst>
              <a:ext uri="{FF2B5EF4-FFF2-40B4-BE49-F238E27FC236}">
                <a16:creationId xmlns:a16="http://schemas.microsoft.com/office/drawing/2014/main" id="{6087A04E-D088-96EE-F910-5489723AFDA8}"/>
              </a:ext>
            </a:extLst>
          </p:cNvPr>
          <p:cNvSpPr>
            <a:spLocks noGrp="1"/>
          </p:cNvSpPr>
          <p:nvPr>
            <p:ph idx="1"/>
          </p:nvPr>
        </p:nvSpPr>
        <p:spPr>
          <a:xfrm>
            <a:off x="865437" y="1618488"/>
            <a:ext cx="9954713" cy="4616408"/>
          </a:xfrm>
        </p:spPr>
        <p:txBody>
          <a:bodyPr/>
          <a:lstStyle/>
          <a:p>
            <a:pPr marL="358775" lvl="1" indent="0">
              <a:buNone/>
            </a:pPr>
            <a:r>
              <a:rPr lang="en-GB" dirty="0"/>
              <a:t>We continuously seek to make impact as per our Sustainability Framework. </a:t>
            </a:r>
          </a:p>
          <a:p>
            <a:pPr marL="358775" lvl="1" indent="0">
              <a:buNone/>
            </a:pPr>
            <a:r>
              <a:rPr lang="en-GB" dirty="0"/>
              <a:t>At present we define </a:t>
            </a:r>
            <a:r>
              <a:rPr lang="en-GB" b="1" dirty="0"/>
              <a:t>“sustainable digital infrastructure” </a:t>
            </a:r>
            <a:r>
              <a:rPr lang="en-GB" dirty="0"/>
              <a:t>as infrastructure that is meeting the below criteria:</a:t>
            </a:r>
          </a:p>
          <a:p>
            <a:pPr marL="715645" lvl="1" indent="-356870"/>
            <a:r>
              <a:rPr lang="en-GB" dirty="0"/>
              <a:t>Located in Norway, benefiting from the largely renewable electricity mix </a:t>
            </a:r>
          </a:p>
          <a:p>
            <a:pPr marL="715645" lvl="1" indent="-356870"/>
            <a:r>
              <a:rPr lang="en-GB" dirty="0"/>
              <a:t>Have a design or actual average annual Power Usage Effectiveness (PUE) of: </a:t>
            </a:r>
          </a:p>
          <a:p>
            <a:pPr marL="1077595" lvl="2" indent="-356870"/>
            <a:r>
              <a:rPr lang="en-GB" dirty="0"/>
              <a:t>Actual PUE 1.40 or below for data </a:t>
            </a:r>
            <a:r>
              <a:rPr lang="en-GB" dirty="0" err="1"/>
              <a:t>centers</a:t>
            </a:r>
            <a:r>
              <a:rPr lang="en-GB" dirty="0"/>
              <a:t> housed in renovated and repurposed buildings</a:t>
            </a:r>
          </a:p>
          <a:p>
            <a:pPr marL="1077595" lvl="2" indent="-356870"/>
            <a:r>
              <a:rPr lang="en-GB" dirty="0"/>
              <a:t>Design PUE 1.20 or below for new data </a:t>
            </a:r>
            <a:r>
              <a:rPr lang="en-GB" dirty="0" err="1"/>
              <a:t>centers</a:t>
            </a:r>
            <a:endParaRPr lang="en-GB" dirty="0"/>
          </a:p>
          <a:p>
            <a:pPr marL="715645" lvl="1" indent="-356870"/>
            <a:endParaRPr lang="en-GB" dirty="0"/>
          </a:p>
          <a:p>
            <a:pPr marL="715645" lvl="1" indent="-356870"/>
            <a:r>
              <a:rPr lang="en-GB" dirty="0"/>
              <a:t>A physical climate risk assessment has been carried out in accordance with Annex A of the EU Taxonomy Regulation </a:t>
            </a:r>
          </a:p>
          <a:p>
            <a:pPr marL="715645" lvl="1" indent="-356870"/>
            <a:r>
              <a:rPr lang="en-GB" dirty="0"/>
              <a:t>Relevant practices listed as “expected practices” in the European Code of Conduct on Data Centre Energy Efficiency have been implemented</a:t>
            </a:r>
          </a:p>
          <a:p>
            <a:pPr marL="715645" lvl="1" indent="-356870"/>
            <a:r>
              <a:rPr lang="en-GB" dirty="0"/>
              <a:t>Existing / new data </a:t>
            </a:r>
            <a:r>
              <a:rPr lang="en-GB" dirty="0" err="1"/>
              <a:t>centers</a:t>
            </a:r>
            <a:r>
              <a:rPr lang="en-GB" dirty="0"/>
              <a:t> are being / will be assessed for additional features and implemented when practical and cost-effective (e.g. for on-site renewable generation and heat re-use)</a:t>
            </a:r>
          </a:p>
          <a:p>
            <a:pPr marL="715645" lvl="1" indent="-356870"/>
            <a:endParaRPr lang="en-GB" dirty="0"/>
          </a:p>
          <a:p>
            <a:pPr marL="358775" lvl="1" indent="0">
              <a:buNone/>
            </a:pPr>
            <a:endParaRPr lang="en-GB" dirty="0"/>
          </a:p>
        </p:txBody>
      </p:sp>
      <p:sp>
        <p:nvSpPr>
          <p:cNvPr id="3" name="Plassholder for bunntekst 1">
            <a:extLst>
              <a:ext uri="{FF2B5EF4-FFF2-40B4-BE49-F238E27FC236}">
                <a16:creationId xmlns:a16="http://schemas.microsoft.com/office/drawing/2014/main" id="{C20B39CA-4511-489B-F48A-BFA66B1A90C5}"/>
              </a:ext>
            </a:extLst>
          </p:cNvPr>
          <p:cNvSpPr txBox="1">
            <a:spLocks/>
          </p:cNvSpPr>
          <p:nvPr/>
        </p:nvSpPr>
        <p:spPr>
          <a:xfrm>
            <a:off x="4038600" y="6447979"/>
            <a:ext cx="4114800" cy="32269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b-NO" sz="1200" b="0" i="0" u="none" strike="noStrike" kern="1200" cap="none" spc="0" normalizeH="0" baseline="0" noProof="0">
                <a:ln>
                  <a:noFill/>
                </a:ln>
                <a:solidFill>
                  <a:srgbClr val="F2F2F2"/>
                </a:solidFill>
                <a:effectLst/>
                <a:uLnTx/>
                <a:uFillTx/>
                <a:latin typeface="Arial" panose="020B0604020202020204" pitchFamily="34" charset="0"/>
                <a:ea typeface="+mn-ea"/>
                <a:cs typeface="+mn-cs"/>
              </a:rPr>
              <a:t>Public</a:t>
            </a:r>
            <a:endParaRPr kumimoji="0" lang="en-GB" sz="1200" b="0" i="0" u="none" strike="noStrike" kern="1200" cap="none" spc="0" normalizeH="0" baseline="0" noProof="0">
              <a:ln>
                <a:noFill/>
              </a:ln>
              <a:solidFill>
                <a:srgbClr val="F2F2F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30326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a:extLst>
              <a:ext uri="{FF2B5EF4-FFF2-40B4-BE49-F238E27FC236}">
                <a16:creationId xmlns:a16="http://schemas.microsoft.com/office/drawing/2014/main" id="{173FE7A5-D137-4046-1E7C-FC84EE1F54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7661" y="-755595"/>
            <a:ext cx="14651830" cy="10312587"/>
          </a:xfrm>
          <a:prstGeom prst="rect">
            <a:avLst/>
          </a:prstGeom>
        </p:spPr>
      </p:pic>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a:t>Sustainability Framework</a:t>
            </a:r>
          </a:p>
        </p:txBody>
      </p:sp>
      <p:sp>
        <p:nvSpPr>
          <p:cNvPr id="3" name="Tittel 1">
            <a:extLst>
              <a:ext uri="{FF2B5EF4-FFF2-40B4-BE49-F238E27FC236}">
                <a16:creationId xmlns:a16="http://schemas.microsoft.com/office/drawing/2014/main" id="{220786AB-36CE-BE06-FC6B-97B8B2B026B2}"/>
              </a:ext>
            </a:extLst>
          </p:cNvPr>
          <p:cNvSpPr>
            <a:spLocks noGrp="1"/>
          </p:cNvSpPr>
          <p:nvPr/>
        </p:nvSpPr>
        <p:spPr bwMode="auto">
          <a:xfrm>
            <a:off x="647699" y="1861131"/>
            <a:ext cx="9963593"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algn="l" rtl="0" fontAlgn="base">
              <a:lnSpc>
                <a:spcPct val="90000"/>
              </a:lnSpc>
              <a:spcBef>
                <a:spcPct val="0"/>
              </a:spcBef>
              <a:spcAft>
                <a:spcPct val="0"/>
              </a:spcAft>
              <a:defRPr sz="3200" b="1" kern="1200">
                <a:solidFill>
                  <a:schemeClr val="accent1"/>
                </a:solidFill>
                <a:latin typeface="+mj-lt"/>
                <a:ea typeface="+mj-ea"/>
                <a:cs typeface="+mj-cs"/>
              </a:defRPr>
            </a:lvl1pPr>
            <a:lvl2pPr algn="l" rtl="0" fontAlgn="base">
              <a:lnSpc>
                <a:spcPct val="90000"/>
              </a:lnSpc>
              <a:spcBef>
                <a:spcPct val="0"/>
              </a:spcBef>
              <a:spcAft>
                <a:spcPct val="0"/>
              </a:spcAft>
              <a:defRPr sz="3200" b="1">
                <a:solidFill>
                  <a:schemeClr val="accent1"/>
                </a:solidFill>
                <a:latin typeface="Arial" panose="020B0604020202020204" pitchFamily="34" charset="0"/>
              </a:defRPr>
            </a:lvl2pPr>
            <a:lvl3pPr algn="l" rtl="0" fontAlgn="base">
              <a:lnSpc>
                <a:spcPct val="90000"/>
              </a:lnSpc>
              <a:spcBef>
                <a:spcPct val="0"/>
              </a:spcBef>
              <a:spcAft>
                <a:spcPct val="0"/>
              </a:spcAft>
              <a:defRPr sz="3200" b="1">
                <a:solidFill>
                  <a:schemeClr val="accent1"/>
                </a:solidFill>
                <a:latin typeface="Arial" panose="020B0604020202020204" pitchFamily="34" charset="0"/>
              </a:defRPr>
            </a:lvl3pPr>
            <a:lvl4pPr algn="l" rtl="0" fontAlgn="base">
              <a:lnSpc>
                <a:spcPct val="90000"/>
              </a:lnSpc>
              <a:spcBef>
                <a:spcPct val="0"/>
              </a:spcBef>
              <a:spcAft>
                <a:spcPct val="0"/>
              </a:spcAft>
              <a:defRPr sz="3200" b="1">
                <a:solidFill>
                  <a:schemeClr val="accent1"/>
                </a:solidFill>
                <a:latin typeface="Arial" panose="020B0604020202020204" pitchFamily="34" charset="0"/>
              </a:defRPr>
            </a:lvl4pPr>
            <a:lvl5pPr algn="l" rtl="0" fontAlgn="base">
              <a:lnSpc>
                <a:spcPct val="90000"/>
              </a:lnSpc>
              <a:spcBef>
                <a:spcPct val="0"/>
              </a:spcBef>
              <a:spcAft>
                <a:spcPct val="0"/>
              </a:spcAft>
              <a:defRPr sz="3200" b="1">
                <a:solidFill>
                  <a:schemeClr val="accent1"/>
                </a:solidFill>
                <a:latin typeface="Arial" panose="020B0604020202020204" pitchFamily="34" charset="0"/>
              </a:defRPr>
            </a:lvl5pPr>
            <a:lvl6pPr marL="457200" algn="l" rtl="0" fontAlgn="base">
              <a:lnSpc>
                <a:spcPct val="90000"/>
              </a:lnSpc>
              <a:spcBef>
                <a:spcPct val="0"/>
              </a:spcBef>
              <a:spcAft>
                <a:spcPct val="0"/>
              </a:spcAft>
              <a:defRPr sz="3200" b="1">
                <a:solidFill>
                  <a:schemeClr val="accent1"/>
                </a:solidFill>
                <a:latin typeface="Arial" panose="020B0604020202020204" pitchFamily="34" charset="0"/>
              </a:defRPr>
            </a:lvl6pPr>
            <a:lvl7pPr marL="914400" algn="l" rtl="0" fontAlgn="base">
              <a:lnSpc>
                <a:spcPct val="90000"/>
              </a:lnSpc>
              <a:spcBef>
                <a:spcPct val="0"/>
              </a:spcBef>
              <a:spcAft>
                <a:spcPct val="0"/>
              </a:spcAft>
              <a:defRPr sz="3200" b="1">
                <a:solidFill>
                  <a:schemeClr val="accent1"/>
                </a:solidFill>
                <a:latin typeface="Arial" panose="020B0604020202020204" pitchFamily="34" charset="0"/>
              </a:defRPr>
            </a:lvl7pPr>
            <a:lvl8pPr marL="1371600" algn="l" rtl="0" fontAlgn="base">
              <a:lnSpc>
                <a:spcPct val="90000"/>
              </a:lnSpc>
              <a:spcBef>
                <a:spcPct val="0"/>
              </a:spcBef>
              <a:spcAft>
                <a:spcPct val="0"/>
              </a:spcAft>
              <a:defRPr sz="3200" b="1">
                <a:solidFill>
                  <a:schemeClr val="accent1"/>
                </a:solidFill>
                <a:latin typeface="Arial" panose="020B0604020202020204" pitchFamily="34" charset="0"/>
              </a:defRPr>
            </a:lvl8pPr>
            <a:lvl9pPr marL="1828800" algn="l" rtl="0" fontAlgn="base">
              <a:lnSpc>
                <a:spcPct val="90000"/>
              </a:lnSpc>
              <a:spcBef>
                <a:spcPct val="0"/>
              </a:spcBef>
              <a:spcAft>
                <a:spcPct val="0"/>
              </a:spcAft>
              <a:defRPr sz="3200" b="1">
                <a:solidFill>
                  <a:schemeClr val="accent1"/>
                </a:solidFill>
                <a:latin typeface="Arial" panose="020B0604020202020204" pitchFamily="34" charset="0"/>
              </a:defRPr>
            </a:lvl9pPr>
          </a:lstStyle>
          <a:p>
            <a:r>
              <a:rPr lang="en-GB" sz="2800" b="0">
                <a:solidFill>
                  <a:schemeClr val="bg2"/>
                </a:solidFill>
              </a:rPr>
              <a:t>Racing to bring sustainable infrastructure to a global audience </a:t>
            </a:r>
            <a:endParaRPr lang="nb-NO" sz="2800" b="0">
              <a:solidFill>
                <a:schemeClr val="bg2"/>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1236413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a:solidFill>
                  <a:schemeClr val="bg1"/>
                </a:solidFill>
                <a:latin typeface="Arial"/>
                <a:cs typeface="Arial"/>
              </a:rPr>
              <a:t>Introduction to Bulk Infrastructure</a:t>
            </a:r>
            <a:endParaRPr lang="en-US" altLang="nb-NO" sz="2000">
              <a:solidFill>
                <a:schemeClr val="bg1"/>
              </a:solidFill>
              <a:cs typeface="Arial"/>
            </a:endParaRPr>
          </a:p>
          <a:p>
            <a:pPr marL="457200" indent="-457200" eaLnBrk="1" hangingPunct="1">
              <a:buAutoNum type="arabicPeriod"/>
            </a:pPr>
            <a:r>
              <a:rPr lang="en-US" altLang="nb-NO" sz="2000">
                <a:solidFill>
                  <a:schemeClr val="bg1"/>
                </a:solidFill>
                <a:latin typeface="Arial"/>
                <a:cs typeface="Arial"/>
              </a:rPr>
              <a:t>Sustainability Framework</a:t>
            </a:r>
            <a:endParaRPr lang="en-US" altLang="nb-NO" sz="2000">
              <a:solidFill>
                <a:schemeClr val="bg1"/>
              </a:solidFill>
              <a:cs typeface="Arial"/>
            </a:endParaRPr>
          </a:p>
          <a:p>
            <a:pPr marL="843280" lvl="1" indent="-457200">
              <a:buAutoNum type="alphaLcParenR"/>
            </a:pPr>
            <a:r>
              <a:rPr lang="en-US" altLang="nb-NO" sz="1600">
                <a:solidFill>
                  <a:schemeClr val="bg1"/>
                </a:solidFill>
                <a:latin typeface="Arial"/>
                <a:cs typeface="Arial"/>
              </a:rPr>
              <a:t>Location</a:t>
            </a:r>
          </a:p>
          <a:p>
            <a:pPr marL="843280" lvl="1" indent="-457200">
              <a:buAutoNum type="alphaLcParenR"/>
            </a:pPr>
            <a:r>
              <a:rPr lang="en-US" altLang="nb-NO" sz="1600">
                <a:solidFill>
                  <a:schemeClr val="bg1"/>
                </a:solidFill>
                <a:latin typeface="Arial"/>
                <a:cs typeface="Arial"/>
              </a:rPr>
              <a:t>Asset</a:t>
            </a:r>
          </a:p>
          <a:p>
            <a:pPr marL="843280" lvl="1" indent="-457200">
              <a:buAutoNum type="alphaLcParenR"/>
            </a:pPr>
            <a:r>
              <a:rPr lang="en-US" altLang="nb-NO" sz="1600">
                <a:solidFill>
                  <a:schemeClr val="bg1"/>
                </a:solidFill>
                <a:latin typeface="Arial"/>
                <a:cs typeface="Arial"/>
              </a:rPr>
              <a:t>Ecosystem</a:t>
            </a:r>
          </a:p>
          <a:p>
            <a:pPr marL="843280" lvl="1" indent="-457200">
              <a:buAutoNum type="alphaLcParenR"/>
            </a:pPr>
            <a:r>
              <a:rPr lang="en-US" altLang="nb-NO" sz="1600">
                <a:solidFill>
                  <a:schemeClr val="bg1"/>
                </a:solidFill>
                <a:latin typeface="Arial"/>
                <a:cs typeface="Arial"/>
              </a:rPr>
              <a:t>Society</a:t>
            </a:r>
          </a:p>
          <a:p>
            <a:pPr marL="457200" indent="-457200">
              <a:buAutoNum type="arabicPeriod"/>
            </a:pPr>
            <a:r>
              <a:rPr lang="en-US" altLang="nb-NO" sz="2000">
                <a:solidFill>
                  <a:schemeClr val="bg1"/>
                </a:solidFill>
                <a:latin typeface="Arial"/>
                <a:cs typeface="Arial"/>
              </a:rPr>
              <a:t>Climate Budget and reporting</a:t>
            </a:r>
            <a:endParaRPr lang="en-US">
              <a:solidFill>
                <a:schemeClr val="bg1"/>
              </a:solidFill>
            </a:endParaRPr>
          </a:p>
          <a:p>
            <a:pPr marL="457200" indent="-457200" eaLnBrk="1" hangingPunct="1">
              <a:buAutoNum type="arabicPeriod"/>
            </a:pPr>
            <a:r>
              <a:rPr lang="en-US" altLang="nb-NO" sz="2000">
                <a:solidFill>
                  <a:schemeClr val="bg1"/>
                </a:solidFill>
                <a:latin typeface="Arial"/>
                <a:cs typeface="Arial"/>
              </a:rPr>
              <a:t>Finding solutions</a:t>
            </a:r>
          </a:p>
          <a:p>
            <a:pPr marL="457200" indent="-457200" eaLnBrk="1" hangingPunct="1">
              <a:buAutoNum type="arabicPeriod"/>
            </a:pPr>
            <a:endParaRPr lang="en-US" altLang="nb-NO" sz="2000">
              <a:solidFill>
                <a:schemeClr val="bg1"/>
              </a:solidFill>
              <a:cs typeface="Arial" panose="020B0604020202020204" pitchFamily="34" charset="0"/>
            </a:endParaRPr>
          </a:p>
        </p:txBody>
      </p:sp>
      <p:sp>
        <p:nvSpPr>
          <p:cNvPr id="6" name="Rectangle 1">
            <a:extLst>
              <a:ext uri="{FF2B5EF4-FFF2-40B4-BE49-F238E27FC236}">
                <a16:creationId xmlns:a16="http://schemas.microsoft.com/office/drawing/2014/main" id="{B51EF0DE-4C1C-E2F6-96E1-D58F47B7B81E}"/>
              </a:ext>
            </a:extLst>
          </p:cNvPr>
          <p:cNvSpPr/>
          <p:nvPr/>
        </p:nvSpPr>
        <p:spPr>
          <a:xfrm>
            <a:off x="1239044" y="3200520"/>
            <a:ext cx="4190206" cy="22848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err="1"/>
          </a:p>
        </p:txBody>
      </p:sp>
    </p:spTree>
    <p:extLst>
      <p:ext uri="{BB962C8B-B14F-4D97-AF65-F5344CB8AC3E}">
        <p14:creationId xmlns:p14="http://schemas.microsoft.com/office/powerpoint/2010/main" val="32962499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3E4E286-3B85-97EF-7873-5BB2CF618D33}"/>
              </a:ext>
            </a:extLst>
          </p:cNvPr>
          <p:cNvPicPr>
            <a:picLocks noChangeAspect="1"/>
          </p:cNvPicPr>
          <p:nvPr/>
        </p:nvPicPr>
        <p:blipFill rotWithShape="1">
          <a:blip r:embed="rId3"/>
          <a:srcRect b="6889"/>
          <a:stretch/>
        </p:blipFill>
        <p:spPr>
          <a:xfrm>
            <a:off x="0" y="1239279"/>
            <a:ext cx="12192000" cy="5107519"/>
          </a:xfrm>
          <a:prstGeom prst="rect">
            <a:avLst/>
          </a:prstGeom>
        </p:spPr>
      </p:pic>
      <p:sp>
        <p:nvSpPr>
          <p:cNvPr id="4" name="Slide Number Placeholder 3" hidden="1">
            <a:extLst>
              <a:ext uri="{FF2B5EF4-FFF2-40B4-BE49-F238E27FC236}">
                <a16:creationId xmlns:a16="http://schemas.microsoft.com/office/drawing/2014/main" id="{17B5A6D5-7D5C-9C86-C1CB-AB0841369A1F}"/>
              </a:ext>
            </a:extLst>
          </p:cNvPr>
          <p:cNvSpPr>
            <a:spLocks noGrp="1"/>
          </p:cNvSpPr>
          <p:nvPr>
            <p:ph type="sldNum" sz="quarter" idx="12"/>
          </p:nvPr>
        </p:nvSpPr>
        <p:spPr>
          <a:xfrm>
            <a:off x="11418888" y="6542088"/>
            <a:ext cx="368300" cy="23177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5D7E4FE8-76CA-4597-8459-E849D1BF9FF5}" type="slidenum">
              <a:rPr kumimoji="0" lang="en-US"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3</a:t>
            </a:fld>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Rektangel 13">
            <a:extLst>
              <a:ext uri="{FF2B5EF4-FFF2-40B4-BE49-F238E27FC236}">
                <a16:creationId xmlns:a16="http://schemas.microsoft.com/office/drawing/2014/main" id="{AB6DA13D-24E9-1207-B2A2-188F3BF883C5}"/>
              </a:ext>
            </a:extLst>
          </p:cNvPr>
          <p:cNvSpPr/>
          <p:nvPr/>
        </p:nvSpPr>
        <p:spPr>
          <a:xfrm>
            <a:off x="0" y="-55004"/>
            <a:ext cx="12192001" cy="12942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 name="Tittel 18">
            <a:extLst>
              <a:ext uri="{FF2B5EF4-FFF2-40B4-BE49-F238E27FC236}">
                <a16:creationId xmlns:a16="http://schemas.microsoft.com/office/drawing/2014/main" id="{F6B65884-4C40-0AE6-E6AA-84C37D6640E1}"/>
              </a:ext>
            </a:extLst>
          </p:cNvPr>
          <p:cNvSpPr>
            <a:spLocks noGrp="1"/>
          </p:cNvSpPr>
          <p:nvPr>
            <p:ph type="title"/>
          </p:nvPr>
        </p:nvSpPr>
        <p:spPr>
          <a:xfrm>
            <a:off x="1674133" y="592138"/>
            <a:ext cx="10896600" cy="480131"/>
          </a:xfrm>
        </p:spPr>
        <p:txBody>
          <a:bodyPr/>
          <a:lstStyle/>
          <a:p>
            <a:pPr eaLnBrk="1" hangingPunct="1"/>
            <a:r>
              <a:rPr lang="nb-NO"/>
              <a:t>Location</a:t>
            </a:r>
          </a:p>
        </p:txBody>
      </p:sp>
      <p:pic>
        <p:nvPicPr>
          <p:cNvPr id="5" name="Bilde 4">
            <a:extLst>
              <a:ext uri="{FF2B5EF4-FFF2-40B4-BE49-F238E27FC236}">
                <a16:creationId xmlns:a16="http://schemas.microsoft.com/office/drawing/2014/main" id="{973040F4-D309-C477-F333-FD8EF0C361A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590518" y="257551"/>
            <a:ext cx="744267" cy="869305"/>
          </a:xfrm>
          <a:prstGeom prst="rect">
            <a:avLst/>
          </a:prstGeom>
          <a:noFill/>
          <a:ln w="19050" cap="rnd">
            <a:noFill/>
            <a:miter lim="800000"/>
            <a:headEnd/>
            <a:tailEnd/>
          </a:ln>
          <a:extLst>
            <a:ext uri="{909E8E84-426E-40DD-AFC4-6F175D3DCCD1}">
              <a14:hiddenFill xmlns:a14="http://schemas.microsoft.com/office/drawing/2010/main">
                <a:solidFill>
                  <a:srgbClr val="FFFFFF"/>
                </a:solidFill>
              </a14:hiddenFill>
            </a:ext>
          </a:extLst>
        </p:spPr>
      </p:pic>
      <p:sp>
        <p:nvSpPr>
          <p:cNvPr id="6" name="Plassholder for bunntekst 1">
            <a:extLst>
              <a:ext uri="{FF2B5EF4-FFF2-40B4-BE49-F238E27FC236}">
                <a16:creationId xmlns:a16="http://schemas.microsoft.com/office/drawing/2014/main" id="{8D1B8B47-4C8E-E7DC-9D56-AF6A737B0667}"/>
              </a:ext>
            </a:extLst>
          </p:cNvPr>
          <p:cNvSpPr txBox="1">
            <a:spLocks/>
          </p:cNvSpPr>
          <p:nvPr/>
        </p:nvSpPr>
        <p:spPr>
          <a:xfrm>
            <a:off x="4038600" y="6526213"/>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
        <p:nvSpPr>
          <p:cNvPr id="12" name="TekstSylinder 11">
            <a:extLst>
              <a:ext uri="{FF2B5EF4-FFF2-40B4-BE49-F238E27FC236}">
                <a16:creationId xmlns:a16="http://schemas.microsoft.com/office/drawing/2014/main" id="{EFF364D6-3A23-47F4-330D-D4F661F1EF26}"/>
              </a:ext>
            </a:extLst>
          </p:cNvPr>
          <p:cNvSpPr txBox="1"/>
          <p:nvPr/>
        </p:nvSpPr>
        <p:spPr>
          <a:xfrm>
            <a:off x="6690095" y="6057175"/>
            <a:ext cx="218200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050">
                <a:solidFill>
                  <a:prstClr val="black"/>
                </a:solidFill>
                <a:cs typeface="Arial" panose="020B0604020202020204" pitchFamily="34" charset="0"/>
              </a:rPr>
              <a:t>30 </a:t>
            </a:r>
            <a:r>
              <a:rPr lang="nb-NO" sz="1050" err="1">
                <a:solidFill>
                  <a:prstClr val="black"/>
                </a:solidFill>
                <a:cs typeface="Arial" panose="020B0604020202020204" pitchFamily="34" charset="0"/>
              </a:rPr>
              <a:t>days</a:t>
            </a:r>
            <a:r>
              <a:rPr kumimoji="0" lang="nb-NO"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0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average</a:t>
            </a:r>
            <a:r>
              <a:rPr kumimoji="0" lang="nb-NO"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0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ecember</a:t>
            </a:r>
            <a:r>
              <a:rPr kumimoji="0" lang="nb-NO"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2024</a:t>
            </a:r>
          </a:p>
        </p:txBody>
      </p:sp>
      <p:sp>
        <p:nvSpPr>
          <p:cNvPr id="17" name="TextBox 7">
            <a:extLst>
              <a:ext uri="{FF2B5EF4-FFF2-40B4-BE49-F238E27FC236}">
                <a16:creationId xmlns:a16="http://schemas.microsoft.com/office/drawing/2014/main" id="{2C683AA8-BDA4-287C-F889-3F9121A4FE20}"/>
              </a:ext>
            </a:extLst>
          </p:cNvPr>
          <p:cNvSpPr txBox="1"/>
          <p:nvPr/>
        </p:nvSpPr>
        <p:spPr>
          <a:xfrm>
            <a:off x="223349" y="6045633"/>
            <a:ext cx="773644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nb-NO" sz="1200" b="0" i="0" u="none" strike="noStrike" kern="0" cap="none" spc="0" normalizeH="0" baseline="0" noProof="0">
                <a:ln>
                  <a:noFill/>
                </a:ln>
                <a:solidFill>
                  <a:srgbClr val="1C2C3C"/>
                </a:solidFill>
                <a:effectLst/>
                <a:uLnTx/>
                <a:uFillTx/>
              </a:rPr>
              <a:t>Source: </a:t>
            </a:r>
            <a:r>
              <a:rPr lang="en-GB" sz="1200">
                <a:solidFill>
                  <a:srgbClr val="1C2C3C"/>
                </a:solidFill>
                <a:hlinkClick r:id="rId5">
                  <a:extLst>
                    <a:ext uri="{A12FA001-AC4F-418D-AE19-62706E023703}">
                      <ahyp:hlinkClr xmlns:ahyp="http://schemas.microsoft.com/office/drawing/2018/hyperlinkcolor" val="tx"/>
                    </a:ext>
                  </a:extLst>
                </a:hlinkClick>
              </a:rPr>
              <a:t>Electricity Maps | Live 24/7 CO₂ emissions of electricity consumption</a:t>
            </a:r>
            <a:endParaRPr lang="en-GB" sz="1200">
              <a:solidFill>
                <a:srgbClr val="1C2C3C"/>
              </a:solidFill>
            </a:endParaRPr>
          </a:p>
        </p:txBody>
      </p:sp>
      <p:pic>
        <p:nvPicPr>
          <p:cNvPr id="13" name="Picture 12">
            <a:extLst>
              <a:ext uri="{FF2B5EF4-FFF2-40B4-BE49-F238E27FC236}">
                <a16:creationId xmlns:a16="http://schemas.microsoft.com/office/drawing/2014/main" id="{DD737B37-D46F-1A06-FF74-6735BB5DF5FF}"/>
              </a:ext>
            </a:extLst>
          </p:cNvPr>
          <p:cNvPicPr>
            <a:picLocks noChangeAspect="1"/>
          </p:cNvPicPr>
          <p:nvPr/>
        </p:nvPicPr>
        <p:blipFill rotWithShape="1">
          <a:blip r:embed="rId6"/>
          <a:srcRect t="6334"/>
          <a:stretch/>
        </p:blipFill>
        <p:spPr>
          <a:xfrm>
            <a:off x="9700652" y="5618721"/>
            <a:ext cx="2476715" cy="728077"/>
          </a:xfrm>
          <a:prstGeom prst="rect">
            <a:avLst/>
          </a:prstGeom>
        </p:spPr>
      </p:pic>
      <p:pic>
        <p:nvPicPr>
          <p:cNvPr id="15" name="Picture 14">
            <a:extLst>
              <a:ext uri="{FF2B5EF4-FFF2-40B4-BE49-F238E27FC236}">
                <a16:creationId xmlns:a16="http://schemas.microsoft.com/office/drawing/2014/main" id="{0E669C1C-08EC-5362-7E4C-1313CFA4CF8F}"/>
              </a:ext>
            </a:extLst>
          </p:cNvPr>
          <p:cNvPicPr>
            <a:picLocks noChangeAspect="1"/>
          </p:cNvPicPr>
          <p:nvPr/>
        </p:nvPicPr>
        <p:blipFill>
          <a:blip r:embed="rId7"/>
          <a:stretch>
            <a:fillRect/>
          </a:stretch>
        </p:blipFill>
        <p:spPr>
          <a:xfrm>
            <a:off x="-6486" y="1240577"/>
            <a:ext cx="2095682" cy="396274"/>
          </a:xfrm>
          <a:prstGeom prst="rect">
            <a:avLst/>
          </a:prstGeom>
        </p:spPr>
      </p:pic>
    </p:spTree>
    <p:extLst>
      <p:ext uri="{BB962C8B-B14F-4D97-AF65-F5344CB8AC3E}">
        <p14:creationId xmlns:p14="http://schemas.microsoft.com/office/powerpoint/2010/main" val="1003280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hidden="1">
            <a:extLst>
              <a:ext uri="{FF2B5EF4-FFF2-40B4-BE49-F238E27FC236}">
                <a16:creationId xmlns:a16="http://schemas.microsoft.com/office/drawing/2014/main" id="{17B5A6D5-7D5C-9C86-C1CB-AB0841369A1F}"/>
              </a:ext>
            </a:extLst>
          </p:cNvPr>
          <p:cNvSpPr>
            <a:spLocks noGrp="1"/>
          </p:cNvSpPr>
          <p:nvPr>
            <p:ph type="sldNum" sz="quarter" idx="12"/>
          </p:nvPr>
        </p:nvSpPr>
        <p:spPr>
          <a:xfrm>
            <a:off x="11418888" y="6542088"/>
            <a:ext cx="368300" cy="23177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5D7E4FE8-76CA-4597-8459-E849D1BF9FF5}" type="slidenum">
              <a:rPr kumimoji="0" lang="en-US"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4</a:t>
            </a:fld>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Rektangel 13">
            <a:extLst>
              <a:ext uri="{FF2B5EF4-FFF2-40B4-BE49-F238E27FC236}">
                <a16:creationId xmlns:a16="http://schemas.microsoft.com/office/drawing/2014/main" id="{AB6DA13D-24E9-1207-B2A2-188F3BF883C5}"/>
              </a:ext>
            </a:extLst>
          </p:cNvPr>
          <p:cNvSpPr/>
          <p:nvPr/>
        </p:nvSpPr>
        <p:spPr>
          <a:xfrm>
            <a:off x="0" y="-55004"/>
            <a:ext cx="12192001" cy="12942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 name="Tittel 18">
            <a:extLst>
              <a:ext uri="{FF2B5EF4-FFF2-40B4-BE49-F238E27FC236}">
                <a16:creationId xmlns:a16="http://schemas.microsoft.com/office/drawing/2014/main" id="{F6B65884-4C40-0AE6-E6AA-84C37D6640E1}"/>
              </a:ext>
            </a:extLst>
          </p:cNvPr>
          <p:cNvSpPr>
            <a:spLocks noGrp="1"/>
          </p:cNvSpPr>
          <p:nvPr>
            <p:ph type="title"/>
          </p:nvPr>
        </p:nvSpPr>
        <p:spPr>
          <a:xfrm>
            <a:off x="1674133" y="592138"/>
            <a:ext cx="9612992" cy="480131"/>
          </a:xfrm>
        </p:spPr>
        <p:txBody>
          <a:bodyPr/>
          <a:lstStyle/>
          <a:p>
            <a:pPr eaLnBrk="1" hangingPunct="1"/>
            <a:r>
              <a:rPr lang="nb-NO" err="1"/>
              <a:t>Why</a:t>
            </a:r>
            <a:r>
              <a:rPr lang="nb-NO"/>
              <a:t> </a:t>
            </a:r>
            <a:r>
              <a:rPr lang="nb-NO" err="1"/>
              <a:t>the</a:t>
            </a:r>
            <a:r>
              <a:rPr lang="nb-NO"/>
              <a:t> Nordics?</a:t>
            </a:r>
          </a:p>
        </p:txBody>
      </p:sp>
      <p:pic>
        <p:nvPicPr>
          <p:cNvPr id="5" name="Bilde 4">
            <a:extLst>
              <a:ext uri="{FF2B5EF4-FFF2-40B4-BE49-F238E27FC236}">
                <a16:creationId xmlns:a16="http://schemas.microsoft.com/office/drawing/2014/main" id="{973040F4-D309-C477-F333-FD8EF0C361A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p:blipFill>
        <p:spPr bwMode="auto">
          <a:xfrm>
            <a:off x="590518" y="257551"/>
            <a:ext cx="744267" cy="869305"/>
          </a:xfrm>
          <a:prstGeom prst="rect">
            <a:avLst/>
          </a:prstGeom>
          <a:noFill/>
          <a:ln w="19050" cap="rnd">
            <a:noFill/>
            <a:miter lim="800000"/>
            <a:headEnd/>
            <a:tailEnd/>
          </a:ln>
          <a:extLst>
            <a:ext uri="{909E8E84-426E-40DD-AFC4-6F175D3DCCD1}">
              <a14:hiddenFill xmlns:a14="http://schemas.microsoft.com/office/drawing/2010/main">
                <a:solidFill>
                  <a:srgbClr val="FFFFFF"/>
                </a:solidFill>
              </a14:hiddenFill>
            </a:ext>
          </a:extLst>
        </p:spPr>
      </p:pic>
      <p:sp>
        <p:nvSpPr>
          <p:cNvPr id="7" name="Plassholder for bunntekst 1">
            <a:extLst>
              <a:ext uri="{FF2B5EF4-FFF2-40B4-BE49-F238E27FC236}">
                <a16:creationId xmlns:a16="http://schemas.microsoft.com/office/drawing/2014/main" id="{0249CDFA-725B-A1CE-1244-3998A72C12A2}"/>
              </a:ext>
            </a:extLst>
          </p:cNvPr>
          <p:cNvSpPr txBox="1">
            <a:spLocks/>
          </p:cNvSpPr>
          <p:nvPr/>
        </p:nvSpPr>
        <p:spPr>
          <a:xfrm>
            <a:off x="4038600" y="640238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pic>
        <p:nvPicPr>
          <p:cNvPr id="15" name="Bilde 14">
            <a:hlinkClick r:id="rId3"/>
            <a:extLst>
              <a:ext uri="{FF2B5EF4-FFF2-40B4-BE49-F238E27FC236}">
                <a16:creationId xmlns:a16="http://schemas.microsoft.com/office/drawing/2014/main" id="{88EF9B98-3AA3-F3FE-D84C-4241186BA41E}"/>
              </a:ext>
            </a:extLst>
          </p:cNvPr>
          <p:cNvPicPr>
            <a:picLocks noChangeAspect="1"/>
          </p:cNvPicPr>
          <p:nvPr/>
        </p:nvPicPr>
        <p:blipFill rotWithShape="1">
          <a:blip r:embed="rId4"/>
          <a:srcRect t="11642"/>
          <a:stretch/>
        </p:blipFill>
        <p:spPr>
          <a:xfrm>
            <a:off x="0" y="1126856"/>
            <a:ext cx="12192000" cy="5227315"/>
          </a:xfrm>
          <a:prstGeom prst="rect">
            <a:avLst/>
          </a:prstGeom>
        </p:spPr>
      </p:pic>
    </p:spTree>
    <p:extLst>
      <p:ext uri="{BB962C8B-B14F-4D97-AF65-F5344CB8AC3E}">
        <p14:creationId xmlns:p14="http://schemas.microsoft.com/office/powerpoint/2010/main" val="3606518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C31E26D4-0D0B-49A5-A689-22B49A15E250}"/>
              </a:ext>
            </a:extLst>
          </p:cNvPr>
          <p:cNvPicPr>
            <a:picLocks noChangeAspect="1"/>
          </p:cNvPicPr>
          <p:nvPr/>
        </p:nvPicPr>
        <p:blipFill rotWithShape="1">
          <a:blip r:embed="rId3"/>
          <a:srcRect l="1672"/>
          <a:stretch/>
        </p:blipFill>
        <p:spPr>
          <a:xfrm>
            <a:off x="-50800" y="0"/>
            <a:ext cx="12242800" cy="6886575"/>
          </a:xfrm>
          <a:prstGeom prst="rect">
            <a:avLst/>
          </a:prstGeom>
        </p:spPr>
      </p:pic>
      <p:sp>
        <p:nvSpPr>
          <p:cNvPr id="2" name="Tittel 1">
            <a:extLst>
              <a:ext uri="{FF2B5EF4-FFF2-40B4-BE49-F238E27FC236}">
                <a16:creationId xmlns:a16="http://schemas.microsoft.com/office/drawing/2014/main" id="{48F8DE62-2E68-59F1-1CA5-4D83335FC103}"/>
              </a:ext>
            </a:extLst>
          </p:cNvPr>
          <p:cNvSpPr>
            <a:spLocks noGrp="1"/>
          </p:cNvSpPr>
          <p:nvPr>
            <p:ph type="title"/>
          </p:nvPr>
        </p:nvSpPr>
        <p:spPr>
          <a:xfrm>
            <a:off x="422867" y="418436"/>
            <a:ext cx="5789870" cy="1255728"/>
          </a:xfrm>
        </p:spPr>
        <p:txBody>
          <a:bodyPr/>
          <a:lstStyle/>
          <a:p>
            <a:r>
              <a:rPr lang="en-GB"/>
              <a:t>Enabling the Nordics by connecting the region with </a:t>
            </a:r>
            <a:r>
              <a:rPr lang="en-GB" err="1"/>
              <a:t>fiber</a:t>
            </a:r>
            <a:r>
              <a:rPr lang="en-GB"/>
              <a:t> optic networks</a:t>
            </a:r>
          </a:p>
        </p:txBody>
      </p:sp>
      <p:sp>
        <p:nvSpPr>
          <p:cNvPr id="5" name="Plassholder for lysbildenummer 4">
            <a:extLst>
              <a:ext uri="{FF2B5EF4-FFF2-40B4-BE49-F238E27FC236}">
                <a16:creationId xmlns:a16="http://schemas.microsoft.com/office/drawing/2014/main" id="{4DD75553-393B-2F22-C015-2129F5346035}"/>
              </a:ext>
            </a:extLst>
          </p:cNvPr>
          <p:cNvSpPr>
            <a:spLocks noGrp="1"/>
          </p:cNvSpPr>
          <p:nvPr>
            <p:ph type="sldNum" sz="quarter" idx="12"/>
          </p:nvPr>
        </p:nvSpPr>
        <p:spPr/>
        <p:txBody>
          <a:bodyPr/>
          <a:lstStyle/>
          <a:p>
            <a:pPr>
              <a:defRPr/>
            </a:pPr>
            <a:fld id="{A57F7166-DB40-46CF-BE63-54EF233AEA61}" type="slidenum">
              <a:rPr lang="en-US" smtClean="0"/>
              <a:pPr>
                <a:defRPr/>
              </a:pPr>
              <a:t>15</a:t>
            </a:fld>
            <a:endParaRPr lang="en-US"/>
          </a:p>
        </p:txBody>
      </p:sp>
      <p:pic>
        <p:nvPicPr>
          <p:cNvPr id="9" name="Bilde 8">
            <a:extLst>
              <a:ext uri="{FF2B5EF4-FFF2-40B4-BE49-F238E27FC236}">
                <a16:creationId xmlns:a16="http://schemas.microsoft.com/office/drawing/2014/main" id="{1972F337-A0A8-FD15-3EA4-EE3D420C076D}"/>
              </a:ext>
            </a:extLst>
          </p:cNvPr>
          <p:cNvPicPr>
            <a:picLocks noChangeAspect="1"/>
          </p:cNvPicPr>
          <p:nvPr/>
        </p:nvPicPr>
        <p:blipFill>
          <a:blip r:embed="rId4"/>
          <a:stretch>
            <a:fillRect/>
          </a:stretch>
        </p:blipFill>
        <p:spPr>
          <a:xfrm>
            <a:off x="0" y="5440177"/>
            <a:ext cx="1286054" cy="1333686"/>
          </a:xfrm>
          <a:prstGeom prst="rect">
            <a:avLst/>
          </a:prstGeom>
        </p:spPr>
      </p:pic>
    </p:spTree>
    <p:extLst>
      <p:ext uri="{BB962C8B-B14F-4D97-AF65-F5344CB8AC3E}">
        <p14:creationId xmlns:p14="http://schemas.microsoft.com/office/powerpoint/2010/main" val="3843824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b-NO" sz="1200" b="0" i="0" u="none" strike="noStrike" kern="1200" cap="none" spc="0" normalizeH="0" baseline="0" noProof="0">
                <a:ln>
                  <a:noFill/>
                </a:ln>
                <a:solidFill>
                  <a:srgbClr val="F2F2F2"/>
                </a:solidFill>
                <a:effectLst/>
                <a:uLnTx/>
                <a:uFillTx/>
                <a:latin typeface="Arial" panose="020B0604020202020204" pitchFamily="34" charset="0"/>
                <a:ea typeface="+mn-ea"/>
                <a:cs typeface="+mn-cs"/>
              </a:rPr>
              <a:t>Public</a:t>
            </a:r>
            <a:endParaRPr kumimoji="0" lang="en-GB" sz="1200" b="0" i="0" u="none" strike="noStrike" kern="1200" cap="none" spc="0" normalizeH="0" baseline="0" noProof="0">
              <a:ln>
                <a:noFill/>
              </a:ln>
              <a:solidFill>
                <a:srgbClr val="F2F2F2"/>
              </a:solidFill>
              <a:effectLst/>
              <a:uLnTx/>
              <a:uFillTx/>
              <a:latin typeface="Arial" panose="020B0604020202020204" pitchFamily="34" charset="0"/>
              <a:ea typeface="+mn-ea"/>
              <a:cs typeface="+mn-cs"/>
            </a:endParaRPr>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1" fontAlgn="base" latinLnBrk="0" hangingPunct="1">
              <a:lnSpc>
                <a:spcPct val="100000"/>
              </a:lnSpc>
              <a:spcBef>
                <a:spcPct val="0"/>
              </a:spcBef>
              <a:spcAft>
                <a:spcPct val="0"/>
              </a:spcAft>
              <a:buClrTx/>
              <a:buSzTx/>
              <a:buFontTx/>
              <a:buAutoNum type="arabicPeriod"/>
              <a:tabLst/>
              <a:defRPr/>
            </a:pPr>
            <a:r>
              <a:rPr lang="en-US" altLang="nb-NO" sz="2000">
                <a:solidFill>
                  <a:prstClr val="white"/>
                </a:solidFill>
                <a:latin typeface="Arial"/>
                <a:cs typeface="Arial"/>
              </a:rPr>
              <a:t>Introduction</a:t>
            </a:r>
            <a:r>
              <a:rPr kumimoji="0" lang="en-US" altLang="nb-NO" sz="2000" b="0" i="0" u="none" strike="noStrike" kern="1200" cap="none" spc="0" normalizeH="0" baseline="0" noProof="0">
                <a:ln>
                  <a:noFill/>
                </a:ln>
                <a:solidFill>
                  <a:prstClr val="white"/>
                </a:solidFill>
                <a:effectLst/>
                <a:uLnTx/>
                <a:uFillTx/>
                <a:latin typeface="Arial"/>
                <a:ea typeface="+mn-ea"/>
                <a:cs typeface="Arial"/>
              </a:rPr>
              <a:t> to Bulk Infrastructure</a:t>
            </a:r>
            <a:endParaRPr kumimoji="0" lang="en-US" altLang="nb-NO" sz="2000" b="0" i="0" u="none" strike="noStrike" kern="1200" cap="none" spc="0" normalizeH="0" baseline="0" noProof="0">
              <a:ln>
                <a:noFill/>
              </a:ln>
              <a:solidFill>
                <a:prstClr val="white"/>
              </a:solidFill>
              <a:effectLst/>
              <a:uLnTx/>
              <a:uFillTx/>
              <a:latin typeface="Arial" panose="020B0604020202020204" pitchFamily="34" charset="0"/>
              <a:ea typeface="+mn-ea"/>
              <a:cs typeface="Arial"/>
            </a:endParaRPr>
          </a:p>
          <a:p>
            <a:pPr marL="457200" marR="0" lvl="0" indent="-457200" algn="l" defTabSz="914400" rtl="0" eaLnBrk="1" fontAlgn="base" latinLnBrk="0" hangingPunct="1">
              <a:lnSpc>
                <a:spcPct val="100000"/>
              </a:lnSpc>
              <a:spcBef>
                <a:spcPct val="0"/>
              </a:spcBef>
              <a:spcAft>
                <a:spcPct val="0"/>
              </a:spcAft>
              <a:buClrTx/>
              <a:buSzTx/>
              <a:buFontTx/>
              <a:buAutoNum type="arabicPeriod"/>
              <a:tabLst/>
              <a:defRPr/>
            </a:pPr>
            <a:r>
              <a:rPr kumimoji="0" lang="en-US" altLang="nb-NO" sz="2000" b="0" i="0" u="none" strike="noStrike" kern="1200" cap="none" spc="0" normalizeH="0" baseline="0" noProof="0">
                <a:ln>
                  <a:noFill/>
                </a:ln>
                <a:solidFill>
                  <a:prstClr val="white"/>
                </a:solidFill>
                <a:effectLst/>
                <a:uLnTx/>
                <a:uFillTx/>
                <a:latin typeface="Arial"/>
                <a:ea typeface="+mn-ea"/>
                <a:cs typeface="Arial"/>
              </a:rPr>
              <a:t>Sustainability Framework</a:t>
            </a:r>
            <a:endParaRPr kumimoji="0" lang="en-US" altLang="nb-NO" sz="2000" b="0" i="0" u="none" strike="noStrike" kern="1200" cap="none" spc="0" normalizeH="0" baseline="0" noProof="0">
              <a:ln>
                <a:noFill/>
              </a:ln>
              <a:solidFill>
                <a:prstClr val="white"/>
              </a:solidFill>
              <a:effectLst/>
              <a:uLnTx/>
              <a:uFillTx/>
              <a:latin typeface="Arial" panose="020B0604020202020204" pitchFamily="34" charset="0"/>
              <a:ea typeface="+mn-ea"/>
              <a:cs typeface="Arial"/>
            </a:endParaRPr>
          </a:p>
          <a:p>
            <a:pPr marL="843280" marR="0" lvl="1" indent="-457200" algn="l" defTabSz="914400" rtl="0" eaLnBrk="0" fontAlgn="base" latinLnBrk="0" hangingPunct="0">
              <a:lnSpc>
                <a:spcPct val="100000"/>
              </a:lnSpc>
              <a:spcBef>
                <a:spcPct val="0"/>
              </a:spcBef>
              <a:spcAft>
                <a:spcPct val="0"/>
              </a:spcAft>
              <a:buClrTx/>
              <a:buSzTx/>
              <a:buFontTx/>
              <a:buAutoNum type="alphaLcParenR"/>
              <a:tabLst/>
              <a:defRPr/>
            </a:pPr>
            <a:r>
              <a:rPr kumimoji="0" lang="en-US" altLang="nb-NO" sz="1600" b="0" i="0" u="none" strike="noStrike" kern="1200" cap="none" spc="0" normalizeH="0" baseline="0" noProof="0">
                <a:ln>
                  <a:noFill/>
                </a:ln>
                <a:solidFill>
                  <a:prstClr val="white"/>
                </a:solidFill>
                <a:effectLst/>
                <a:uLnTx/>
                <a:uFillTx/>
                <a:latin typeface="Arial"/>
                <a:ea typeface="+mn-ea"/>
                <a:cs typeface="Arial"/>
              </a:rPr>
              <a:t>Location</a:t>
            </a:r>
            <a:endParaRPr lang="en-US" altLang="nb-NO" sz="1600" b="0" i="0" u="none" strike="noStrike" kern="1200" cap="none" spc="0" normalizeH="0" baseline="0" noProof="0">
              <a:ln>
                <a:noFill/>
              </a:ln>
              <a:solidFill>
                <a:prstClr val="white"/>
              </a:solidFill>
              <a:effectLst/>
              <a:uLnTx/>
              <a:uFillTx/>
              <a:latin typeface="Arial"/>
              <a:cs typeface="Arial"/>
            </a:endParaRPr>
          </a:p>
          <a:p>
            <a:pPr marL="843280" marR="0" lvl="1" indent="-457200" algn="l" defTabSz="914400" rtl="0" eaLnBrk="0" fontAlgn="base" latinLnBrk="0" hangingPunct="0">
              <a:lnSpc>
                <a:spcPct val="100000"/>
              </a:lnSpc>
              <a:spcBef>
                <a:spcPct val="0"/>
              </a:spcBef>
              <a:spcAft>
                <a:spcPct val="0"/>
              </a:spcAft>
              <a:buClrTx/>
              <a:buSzTx/>
              <a:buFontTx/>
              <a:buAutoNum type="alphaLcParenR"/>
              <a:tabLst/>
              <a:defRPr/>
            </a:pPr>
            <a:r>
              <a:rPr kumimoji="0" lang="en-US" altLang="nb-NO" sz="1600" b="0" i="0" u="none" strike="noStrike" kern="1200" cap="none" spc="0" normalizeH="0" baseline="0" noProof="0">
                <a:ln>
                  <a:noFill/>
                </a:ln>
                <a:solidFill>
                  <a:prstClr val="white"/>
                </a:solidFill>
                <a:effectLst/>
                <a:uLnTx/>
                <a:uFillTx/>
                <a:latin typeface="Arial"/>
                <a:ea typeface="+mn-ea"/>
                <a:cs typeface="Arial"/>
              </a:rPr>
              <a:t>Asset</a:t>
            </a:r>
            <a:endParaRPr lang="en-US" altLang="nb-NO" sz="1600" b="0" i="0" u="none" strike="noStrike" kern="1200" cap="none" spc="0" normalizeH="0" baseline="0" noProof="0">
              <a:ln>
                <a:noFill/>
              </a:ln>
              <a:solidFill>
                <a:prstClr val="white"/>
              </a:solidFill>
              <a:effectLst/>
              <a:uLnTx/>
              <a:uFillTx/>
              <a:latin typeface="Arial"/>
              <a:cs typeface="Arial"/>
            </a:endParaRPr>
          </a:p>
          <a:p>
            <a:pPr marL="843280" marR="0" lvl="1" indent="-457200" algn="l" defTabSz="914400" rtl="0" eaLnBrk="0" fontAlgn="base" latinLnBrk="0" hangingPunct="0">
              <a:lnSpc>
                <a:spcPct val="100000"/>
              </a:lnSpc>
              <a:spcBef>
                <a:spcPct val="0"/>
              </a:spcBef>
              <a:spcAft>
                <a:spcPct val="0"/>
              </a:spcAft>
              <a:buClrTx/>
              <a:buSzTx/>
              <a:buFontTx/>
              <a:buAutoNum type="alphaLcParenR"/>
              <a:tabLst/>
              <a:defRPr/>
            </a:pPr>
            <a:r>
              <a:rPr kumimoji="0" lang="en-US" altLang="nb-NO" sz="1600" b="0" i="0" u="none" strike="noStrike" kern="1200" cap="none" spc="0" normalizeH="0" baseline="0" noProof="0">
                <a:ln>
                  <a:noFill/>
                </a:ln>
                <a:solidFill>
                  <a:prstClr val="white"/>
                </a:solidFill>
                <a:effectLst/>
                <a:uLnTx/>
                <a:uFillTx/>
                <a:latin typeface="Arial"/>
                <a:ea typeface="+mn-ea"/>
                <a:cs typeface="Arial"/>
              </a:rPr>
              <a:t>Ecosystem</a:t>
            </a:r>
            <a:endParaRPr lang="en-US" altLang="nb-NO" sz="1600" b="0" i="0" u="none" strike="noStrike" kern="1200" cap="none" spc="0" normalizeH="0" baseline="0" noProof="0">
              <a:ln>
                <a:noFill/>
              </a:ln>
              <a:solidFill>
                <a:prstClr val="white"/>
              </a:solidFill>
              <a:effectLst/>
              <a:uLnTx/>
              <a:uFillTx/>
              <a:latin typeface="Arial"/>
              <a:cs typeface="Arial"/>
            </a:endParaRPr>
          </a:p>
          <a:p>
            <a:pPr marL="843280" marR="0" lvl="1" indent="-457200" algn="l" defTabSz="914400" rtl="0" eaLnBrk="0" fontAlgn="base" latinLnBrk="0" hangingPunct="0">
              <a:lnSpc>
                <a:spcPct val="100000"/>
              </a:lnSpc>
              <a:spcBef>
                <a:spcPct val="0"/>
              </a:spcBef>
              <a:spcAft>
                <a:spcPct val="0"/>
              </a:spcAft>
              <a:buClrTx/>
              <a:buSzTx/>
              <a:buFontTx/>
              <a:buAutoNum type="alphaLcParenR"/>
              <a:tabLst/>
              <a:defRPr/>
            </a:pPr>
            <a:r>
              <a:rPr kumimoji="0" lang="en-US" altLang="nb-NO" sz="1600" b="0" i="0" u="none" strike="noStrike" kern="1200" cap="none" spc="0" normalizeH="0" baseline="0" noProof="0">
                <a:ln>
                  <a:noFill/>
                </a:ln>
                <a:solidFill>
                  <a:prstClr val="white"/>
                </a:solidFill>
                <a:effectLst/>
                <a:uLnTx/>
                <a:uFillTx/>
                <a:latin typeface="Arial"/>
                <a:ea typeface="+mn-ea"/>
                <a:cs typeface="Arial"/>
              </a:rPr>
              <a:t>Society</a:t>
            </a:r>
            <a:endParaRPr lang="en-US" altLang="nb-NO" sz="1600" b="0" i="0" u="none" strike="noStrike" kern="1200" cap="none" spc="0" normalizeH="0" baseline="0" noProof="0">
              <a:ln>
                <a:noFill/>
              </a:ln>
              <a:solidFill>
                <a:prstClr val="white"/>
              </a:solidFill>
              <a:effectLst/>
              <a:uLnTx/>
              <a:uFillTx/>
              <a:latin typeface="Arial"/>
              <a:cs typeface="Arial"/>
            </a:endParaRPr>
          </a:p>
          <a:p>
            <a:pPr marL="457200" marR="0" lvl="0" indent="-457200" algn="l" defTabSz="914400" rtl="0" eaLnBrk="0" fontAlgn="base" latinLnBrk="0" hangingPunct="0">
              <a:lnSpc>
                <a:spcPct val="100000"/>
              </a:lnSpc>
              <a:spcBef>
                <a:spcPct val="0"/>
              </a:spcBef>
              <a:spcAft>
                <a:spcPct val="0"/>
              </a:spcAft>
              <a:buClrTx/>
              <a:buSzTx/>
              <a:buFontTx/>
              <a:buAutoNum type="arabicPeriod"/>
              <a:tabLst/>
              <a:defRPr/>
            </a:pPr>
            <a:r>
              <a:rPr kumimoji="0" lang="en-US" altLang="nb-NO" sz="2000" b="0" i="0" u="none" strike="noStrike" kern="1200" cap="none" spc="0" normalizeH="0" baseline="0" noProof="0">
                <a:ln>
                  <a:noFill/>
                </a:ln>
                <a:solidFill>
                  <a:prstClr val="white"/>
                </a:solidFill>
                <a:effectLst/>
                <a:uLnTx/>
                <a:uFillTx/>
                <a:latin typeface="Arial"/>
                <a:ea typeface="+mn-ea"/>
                <a:cs typeface="Arial"/>
              </a:rPr>
              <a:t>Climate Budget and reporting</a:t>
            </a: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a:p>
            <a:pPr marL="457200" marR="0" lvl="0" indent="-457200" algn="l" defTabSz="914400" rtl="0" eaLnBrk="1" fontAlgn="base" latinLnBrk="0" hangingPunct="1">
              <a:lnSpc>
                <a:spcPct val="100000"/>
              </a:lnSpc>
              <a:spcBef>
                <a:spcPct val="0"/>
              </a:spcBef>
              <a:spcAft>
                <a:spcPct val="0"/>
              </a:spcAft>
              <a:buClrTx/>
              <a:buSzTx/>
              <a:buFontTx/>
              <a:buAutoNum type="arabicPeriod"/>
              <a:tabLst/>
              <a:defRPr/>
            </a:pPr>
            <a:r>
              <a:rPr kumimoji="0" lang="en-US" altLang="nb-NO" sz="2000" b="0" i="0" u="none" strike="noStrike" kern="1200" cap="none" spc="0" normalizeH="0" baseline="0" noProof="0">
                <a:ln>
                  <a:noFill/>
                </a:ln>
                <a:solidFill>
                  <a:prstClr val="white"/>
                </a:solidFill>
                <a:effectLst/>
                <a:uLnTx/>
                <a:uFillTx/>
                <a:latin typeface="Arial"/>
                <a:ea typeface="+mn-ea"/>
                <a:cs typeface="Arial"/>
              </a:rPr>
              <a:t>Finding solutions</a:t>
            </a:r>
            <a:endParaRPr lang="en-US" altLang="nb-NO" sz="2000" b="0" i="0" u="none" strike="noStrike" kern="1200" cap="none" spc="0" normalizeH="0" baseline="0" noProof="0">
              <a:ln>
                <a:noFill/>
              </a:ln>
              <a:solidFill>
                <a:prstClr val="white"/>
              </a:solidFill>
              <a:effectLst/>
              <a:uLnTx/>
              <a:uFillTx/>
              <a:latin typeface="Arial"/>
              <a:cs typeface="Arial"/>
            </a:endParaRPr>
          </a:p>
          <a:p>
            <a:pPr marL="457200" marR="0" lvl="0" indent="-457200" algn="l" defTabSz="914400" rtl="0" eaLnBrk="1" fontAlgn="base" latinLnBrk="0" hangingPunct="1">
              <a:lnSpc>
                <a:spcPct val="100000"/>
              </a:lnSpc>
              <a:spcBef>
                <a:spcPct val="0"/>
              </a:spcBef>
              <a:spcAft>
                <a:spcPct val="0"/>
              </a:spcAft>
              <a:buClrTx/>
              <a:buSzTx/>
              <a:buFontTx/>
              <a:buAutoNum type="arabicPeriod"/>
              <a:tabLst/>
              <a:defRPr/>
            </a:pPr>
            <a:endParaRPr kumimoji="0" lang="en-US" altLang="nb-NO"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1">
            <a:extLst>
              <a:ext uri="{FF2B5EF4-FFF2-40B4-BE49-F238E27FC236}">
                <a16:creationId xmlns:a16="http://schemas.microsoft.com/office/drawing/2014/main" id="{B51EF0DE-4C1C-E2F6-96E1-D58F47B7B81E}"/>
              </a:ext>
            </a:extLst>
          </p:cNvPr>
          <p:cNvSpPr/>
          <p:nvPr/>
        </p:nvSpPr>
        <p:spPr>
          <a:xfrm>
            <a:off x="1239044" y="3439910"/>
            <a:ext cx="4190206" cy="22848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652065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A139D60F-2615-2D87-45E8-4E409AC411D7}"/>
              </a:ext>
            </a:extLst>
          </p:cNvPr>
          <p:cNvSpPr/>
          <p:nvPr/>
        </p:nvSpPr>
        <p:spPr>
          <a:xfrm>
            <a:off x="0" y="0"/>
            <a:ext cx="12192001" cy="1456660"/>
          </a:xfrm>
          <a:prstGeom prst="rect">
            <a:avLst/>
          </a:prstGeom>
          <a:solidFill>
            <a:srgbClr val="364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B9773E1C-47AE-4199-4F72-2BEE907DFAC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8DBA119-65E2-4162-B6BA-2AAAE294218B}" type="slidenum">
              <a:rPr kumimoji="0" lang="en-US"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Bilde 4">
            <a:extLst>
              <a:ext uri="{FF2B5EF4-FFF2-40B4-BE49-F238E27FC236}">
                <a16:creationId xmlns:a16="http://schemas.microsoft.com/office/drawing/2014/main" id="{653333A0-2F13-054F-089A-C3EB8B2BDA1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398010" y="296188"/>
            <a:ext cx="1070785" cy="824273"/>
          </a:xfrm>
          <a:prstGeom prst="rect">
            <a:avLst/>
          </a:prstGeom>
          <a:noFill/>
          <a:ln w="19050" cap="rnd">
            <a:noFill/>
            <a:miter lim="800000"/>
            <a:headEnd/>
            <a:tailEnd/>
          </a:ln>
          <a:extLst>
            <a:ext uri="{909E8E84-426E-40DD-AFC4-6F175D3DCCD1}">
              <a14:hiddenFill xmlns:a14="http://schemas.microsoft.com/office/drawing/2010/main">
                <a:solidFill>
                  <a:srgbClr val="FFFFFF"/>
                </a:solidFill>
              </a14:hiddenFill>
            </a:ext>
          </a:extLst>
        </p:spPr>
      </p:pic>
      <p:sp>
        <p:nvSpPr>
          <p:cNvPr id="3" name="Tittel 18">
            <a:extLst>
              <a:ext uri="{FF2B5EF4-FFF2-40B4-BE49-F238E27FC236}">
                <a16:creationId xmlns:a16="http://schemas.microsoft.com/office/drawing/2014/main" id="{99A8F7C3-07DA-1214-46A0-71918C811B6A}"/>
              </a:ext>
            </a:extLst>
          </p:cNvPr>
          <p:cNvSpPr txBox="1">
            <a:spLocks/>
          </p:cNvSpPr>
          <p:nvPr/>
        </p:nvSpPr>
        <p:spPr bwMode="auto">
          <a:xfrm>
            <a:off x="1674133" y="647538"/>
            <a:ext cx="9917792"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algn="l" rtl="0" eaLnBrk="1" fontAlgn="base" hangingPunct="1">
              <a:lnSpc>
                <a:spcPct val="90000"/>
              </a:lnSpc>
              <a:spcBef>
                <a:spcPct val="0"/>
              </a:spcBef>
              <a:spcAft>
                <a:spcPct val="0"/>
              </a:spcAft>
              <a:defRPr sz="3200" kern="1200">
                <a:solidFill>
                  <a:schemeClr val="bg1"/>
                </a:solidFill>
                <a:latin typeface="+mj-lt"/>
                <a:ea typeface="+mj-ea"/>
                <a:cs typeface="+mj-cs"/>
              </a:defRPr>
            </a:lvl1pPr>
            <a:lvl2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2pPr>
            <a:lvl3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3pPr>
            <a:lvl4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4pPr>
            <a:lvl5pPr algn="l" rtl="0" eaLnBrk="1" fontAlgn="base" hangingPunct="1">
              <a:lnSpc>
                <a:spcPct val="90000"/>
              </a:lnSpc>
              <a:spcBef>
                <a:spcPct val="0"/>
              </a:spcBef>
              <a:spcAft>
                <a:spcPct val="0"/>
              </a:spcAft>
              <a:defRPr sz="2800">
                <a:solidFill>
                  <a:schemeClr val="accent1"/>
                </a:solidFill>
                <a:latin typeface="Arial" panose="020B0604020202020204" pitchFamily="34" charset="0"/>
              </a:defRPr>
            </a:lvl5pPr>
            <a:lvl6pPr marL="4572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6pPr>
            <a:lvl7pPr marL="9144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7pPr>
            <a:lvl8pPr marL="13716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8pPr>
            <a:lvl9pPr marL="1828800" algn="l" rtl="0" eaLnBrk="1" fontAlgn="base" hangingPunct="1">
              <a:lnSpc>
                <a:spcPct val="90000"/>
              </a:lnSpc>
              <a:spcBef>
                <a:spcPct val="0"/>
              </a:spcBef>
              <a:spcAft>
                <a:spcPct val="0"/>
              </a:spcAft>
              <a:defRPr sz="2800">
                <a:solidFill>
                  <a:schemeClr val="accent1"/>
                </a:solidFill>
                <a:latin typeface="Arial" panose="020B0604020202020204" pitchFamily="34" charset="0"/>
              </a:defRPr>
            </a:lvl9pPr>
          </a:lstStyle>
          <a:p>
            <a:r>
              <a:rPr lang="en-US" sz="2800">
                <a:solidFill>
                  <a:schemeClr val="accent1"/>
                </a:solidFill>
              </a:rPr>
              <a:t>Asset – industrial real estate modular building</a:t>
            </a:r>
          </a:p>
        </p:txBody>
      </p:sp>
      <p:pic>
        <p:nvPicPr>
          <p:cNvPr id="6" name="Bilde 5">
            <a:extLst>
              <a:ext uri="{FF2B5EF4-FFF2-40B4-BE49-F238E27FC236}">
                <a16:creationId xmlns:a16="http://schemas.microsoft.com/office/drawing/2014/main" id="{58256B57-3472-9290-9A16-AB953C6BB9AD}"/>
              </a:ext>
            </a:extLst>
          </p:cNvPr>
          <p:cNvPicPr>
            <a:picLocks noChangeAspect="1"/>
          </p:cNvPicPr>
          <p:nvPr/>
        </p:nvPicPr>
        <p:blipFill>
          <a:blip r:embed="rId4"/>
          <a:stretch>
            <a:fillRect/>
          </a:stretch>
        </p:blipFill>
        <p:spPr>
          <a:xfrm>
            <a:off x="890587" y="1316835"/>
            <a:ext cx="10863995" cy="5106000"/>
          </a:xfrm>
          <a:prstGeom prst="rect">
            <a:avLst/>
          </a:prstGeom>
        </p:spPr>
      </p:pic>
      <p:sp>
        <p:nvSpPr>
          <p:cNvPr id="2" name="Plassholder for bunntekst 1">
            <a:extLst>
              <a:ext uri="{FF2B5EF4-FFF2-40B4-BE49-F238E27FC236}">
                <a16:creationId xmlns:a16="http://schemas.microsoft.com/office/drawing/2014/main" id="{C6E49B8E-C687-17D4-F0D6-F8F9FEE8526B}"/>
              </a:ext>
            </a:extLst>
          </p:cNvPr>
          <p:cNvSpPr>
            <a:spLocks noGrp="1"/>
          </p:cNvSpPr>
          <p:nvPr>
            <p:ph type="ftr" sz="quarter" idx="3"/>
          </p:nvPr>
        </p:nvSpPr>
        <p:spPr>
          <a:xfrm>
            <a:off x="4038600" y="6437704"/>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422977230"/>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28" y="6451478"/>
            <a:ext cx="12191144" cy="406178"/>
          </a:xfrm>
          <a:custGeom>
            <a:avLst/>
            <a:gdLst/>
            <a:ahLst/>
            <a:cxnLst/>
            <a:rect l="l" t="t" r="r" b="b"/>
            <a:pathLst>
              <a:path w="20104100" h="356234">
                <a:moveTo>
                  <a:pt x="20104099" y="0"/>
                </a:moveTo>
                <a:lnTo>
                  <a:pt x="0" y="0"/>
                </a:lnTo>
                <a:lnTo>
                  <a:pt x="0" y="356010"/>
                </a:lnTo>
                <a:lnTo>
                  <a:pt x="20104099" y="356010"/>
                </a:lnTo>
                <a:lnTo>
                  <a:pt x="20104099" y="0"/>
                </a:lnTo>
                <a:close/>
              </a:path>
            </a:pathLst>
          </a:custGeom>
          <a:solidFill>
            <a:srgbClr val="1B2C3D"/>
          </a:solidFill>
        </p:spPr>
        <p:txBody>
          <a:bodyPr wrap="square" lIns="0" tIns="0" rIns="0" bIns="0" rtlCol="0"/>
          <a:lstStyle/>
          <a:p>
            <a:endParaRPr/>
          </a:p>
        </p:txBody>
      </p:sp>
      <p:sp>
        <p:nvSpPr>
          <p:cNvPr id="8" name="Rectangle 7">
            <a:extLst>
              <a:ext uri="{FF2B5EF4-FFF2-40B4-BE49-F238E27FC236}">
                <a16:creationId xmlns:a16="http://schemas.microsoft.com/office/drawing/2014/main" id="{2FA74F20-959B-0097-D025-62FFC0700CB6}"/>
              </a:ext>
            </a:extLst>
          </p:cNvPr>
          <p:cNvSpPr/>
          <p:nvPr/>
        </p:nvSpPr>
        <p:spPr>
          <a:xfrm>
            <a:off x="7050791" y="741849"/>
            <a:ext cx="1448050" cy="5534256"/>
          </a:xfrm>
          <a:prstGeom prst="rect">
            <a:avLst/>
          </a:prstGeom>
          <a:solidFill>
            <a:srgbClr val="52698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245015E-673C-BD49-79CF-1CA6BFD47EF1}"/>
              </a:ext>
            </a:extLst>
          </p:cNvPr>
          <p:cNvSpPr txBox="1"/>
          <p:nvPr/>
        </p:nvSpPr>
        <p:spPr>
          <a:xfrm>
            <a:off x="9569885" y="2033089"/>
            <a:ext cx="2548029" cy="332990"/>
          </a:xfrm>
          <a:prstGeom prst="rect">
            <a:avLst/>
          </a:prstGeom>
          <a:noFill/>
        </p:spPr>
        <p:txBody>
          <a:bodyPr rot="0" spcFirstLastPara="0" vertOverflow="overflow" horzOverflow="overflow" vert="horz" wrap="square" lIns="55449" tIns="27725" rIns="55449" bIns="27725" numCol="1" spcCol="0" rtlCol="0" fromWordArt="0" anchor="t" anchorCtr="0" forceAA="0" compatLnSpc="1">
            <a:prstTxWarp prst="textNoShape">
              <a:avLst/>
            </a:prstTxWarp>
            <a:spAutoFit/>
          </a:bodyPr>
          <a:lstStyle/>
          <a:p>
            <a:pPr algn="l"/>
            <a:r>
              <a:rPr lang="en-US" i="1">
                <a:solidFill>
                  <a:schemeClr val="bg1"/>
                </a:solidFill>
              </a:rPr>
              <a:t>41 250 kg plastic</a:t>
            </a:r>
            <a:endParaRPr lang="en-US" sz="1600" i="1">
              <a:solidFill>
                <a:schemeClr val="bg1"/>
              </a:solidFill>
            </a:endParaRPr>
          </a:p>
        </p:txBody>
      </p:sp>
      <p:sp>
        <p:nvSpPr>
          <p:cNvPr id="10" name="TextBox 9">
            <a:extLst>
              <a:ext uri="{FF2B5EF4-FFF2-40B4-BE49-F238E27FC236}">
                <a16:creationId xmlns:a16="http://schemas.microsoft.com/office/drawing/2014/main" id="{E2F9551D-A965-4F3A-1EB4-70E6B6C000B2}"/>
              </a:ext>
            </a:extLst>
          </p:cNvPr>
          <p:cNvSpPr txBox="1"/>
          <p:nvPr/>
        </p:nvSpPr>
        <p:spPr>
          <a:xfrm>
            <a:off x="8745606" y="169619"/>
            <a:ext cx="3339298" cy="765160"/>
          </a:xfrm>
          <a:prstGeom prst="rect">
            <a:avLst/>
          </a:prstGeom>
          <a:noFill/>
        </p:spPr>
        <p:txBody>
          <a:bodyPr rot="0" spcFirstLastPara="0" vertOverflow="overflow" horzOverflow="overflow" vert="horz" wrap="square" lIns="55449" tIns="27725" rIns="55449" bIns="27725" numCol="1" spcCol="0" rtlCol="0" fromWordArt="0" anchor="t" anchorCtr="0" forceAA="0" compatLnSpc="1">
            <a:prstTxWarp prst="textNoShape">
              <a:avLst/>
            </a:prstTxWarp>
            <a:spAutoFit/>
          </a:bodyPr>
          <a:lstStyle/>
          <a:p>
            <a:pPr algn="l"/>
            <a:r>
              <a:rPr lang="en-US" sz="2304">
                <a:solidFill>
                  <a:schemeClr val="bg1"/>
                </a:solidFill>
              </a:rPr>
              <a:t>Steel construction</a:t>
            </a:r>
            <a:br>
              <a:rPr lang="en-US" sz="2304">
                <a:solidFill>
                  <a:schemeClr val="bg1"/>
                </a:solidFill>
              </a:rPr>
            </a:br>
            <a:r>
              <a:rPr lang="en-US" sz="2304">
                <a:solidFill>
                  <a:schemeClr val="bg1"/>
                </a:solidFill>
              </a:rPr>
              <a:t>= 310 000 kg CO2e</a:t>
            </a:r>
            <a:endParaRPr lang="en-US">
              <a:solidFill>
                <a:schemeClr val="bg1"/>
              </a:solidFill>
            </a:endParaRPr>
          </a:p>
        </p:txBody>
      </p:sp>
      <p:sp>
        <p:nvSpPr>
          <p:cNvPr id="12" name="Rectangle 11">
            <a:extLst>
              <a:ext uri="{FF2B5EF4-FFF2-40B4-BE49-F238E27FC236}">
                <a16:creationId xmlns:a16="http://schemas.microsoft.com/office/drawing/2014/main" id="{37E9D91C-AC3C-3A0C-AC0D-EF7FA12F6779}"/>
              </a:ext>
            </a:extLst>
          </p:cNvPr>
          <p:cNvSpPr/>
          <p:nvPr/>
        </p:nvSpPr>
        <p:spPr>
          <a:xfrm>
            <a:off x="7050791" y="745707"/>
            <a:ext cx="1436474" cy="3016911"/>
          </a:xfrm>
          <a:prstGeom prst="rect">
            <a:avLst/>
          </a:prstGeom>
          <a:solidFill>
            <a:srgbClr val="01A8A0"/>
          </a:solidFill>
          <a:ln>
            <a:noFill/>
          </a:ln>
        </p:spPr>
        <p:style>
          <a:lnRef idx="1">
            <a:schemeClr val="accent1"/>
          </a:lnRef>
          <a:fillRef idx="2">
            <a:schemeClr val="accent1"/>
          </a:fillRef>
          <a:effectRef idx="1">
            <a:schemeClr val="accent1"/>
          </a:effectRef>
          <a:fontRef idx="minor">
            <a:schemeClr val="dk1"/>
          </a:fontRef>
        </p:style>
        <p:txBody>
          <a:bodyPr lIns="55449" tIns="27725" rIns="55449" bIns="27725" rtlCol="0" anchor="ctr"/>
          <a:lstStyle/>
          <a:p>
            <a:pPr algn="ctr"/>
            <a:r>
              <a:rPr lang="en-US" b="1">
                <a:solidFill>
                  <a:schemeClr val="bg1"/>
                </a:solidFill>
                <a:cs typeface="Calibri"/>
              </a:rPr>
              <a:t>Bulk Wood</a:t>
            </a:r>
            <a:r>
              <a:rPr lang="en-US">
                <a:solidFill>
                  <a:schemeClr val="bg1"/>
                </a:solidFill>
                <a:cs typeface="Calibri"/>
              </a:rPr>
              <a:t> avoided emissions:</a:t>
            </a:r>
            <a:br>
              <a:rPr lang="en-US">
                <a:cs typeface="Calibri"/>
              </a:rPr>
            </a:br>
            <a:br>
              <a:rPr lang="en-US">
                <a:cs typeface="Calibri"/>
              </a:rPr>
            </a:br>
            <a:r>
              <a:rPr lang="en-US">
                <a:solidFill>
                  <a:schemeClr val="bg1"/>
                </a:solidFill>
                <a:cs typeface="Calibri"/>
              </a:rPr>
              <a:t>165 000 kg CO2e</a:t>
            </a:r>
          </a:p>
        </p:txBody>
      </p:sp>
      <p:cxnSp>
        <p:nvCxnSpPr>
          <p:cNvPr id="14" name="Straight Arrow Connector 13">
            <a:extLst>
              <a:ext uri="{FF2B5EF4-FFF2-40B4-BE49-F238E27FC236}">
                <a16:creationId xmlns:a16="http://schemas.microsoft.com/office/drawing/2014/main" id="{DD0A7FAE-9A51-9276-30F3-C6D1C92AF7E6}"/>
              </a:ext>
            </a:extLst>
          </p:cNvPr>
          <p:cNvCxnSpPr>
            <a:cxnSpLocks/>
          </p:cNvCxnSpPr>
          <p:nvPr/>
        </p:nvCxnSpPr>
        <p:spPr>
          <a:xfrm flipH="1">
            <a:off x="6679431" y="537202"/>
            <a:ext cx="9802" cy="5871500"/>
          </a:xfrm>
          <a:prstGeom prst="straightConnector1">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047CCEA-E8E4-CCD4-38E1-7B647BA99EE3}"/>
              </a:ext>
            </a:extLst>
          </p:cNvPr>
          <p:cNvCxnSpPr>
            <a:cxnSpLocks/>
          </p:cNvCxnSpPr>
          <p:nvPr/>
        </p:nvCxnSpPr>
        <p:spPr>
          <a:xfrm flipV="1">
            <a:off x="6677972" y="6403848"/>
            <a:ext cx="989470" cy="996"/>
          </a:xfrm>
          <a:prstGeom prst="straightConnector1">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513B378B-89B1-F505-3E1D-514F336FCDB3}"/>
              </a:ext>
            </a:extLst>
          </p:cNvPr>
          <p:cNvCxnSpPr>
            <a:cxnSpLocks/>
          </p:cNvCxnSpPr>
          <p:nvPr/>
        </p:nvCxnSpPr>
        <p:spPr>
          <a:xfrm flipV="1">
            <a:off x="6689897" y="535850"/>
            <a:ext cx="989470" cy="996"/>
          </a:xfrm>
          <a:prstGeom prst="straightConnector1">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C53AE0B-2190-8884-742E-30E8549131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30223" y="2797833"/>
            <a:ext cx="891828" cy="833605"/>
          </a:xfrm>
          <a:prstGeom prst="rect">
            <a:avLst/>
          </a:prstGeom>
        </p:spPr>
      </p:pic>
      <p:pic>
        <p:nvPicPr>
          <p:cNvPr id="18" name="Picture 17">
            <a:extLst>
              <a:ext uri="{FF2B5EF4-FFF2-40B4-BE49-F238E27FC236}">
                <a16:creationId xmlns:a16="http://schemas.microsoft.com/office/drawing/2014/main" id="{80786C82-AE5C-FDA4-61DE-1CD4F874F6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30224" y="1862543"/>
            <a:ext cx="891827" cy="891234"/>
          </a:xfrm>
          <a:prstGeom prst="rect">
            <a:avLst/>
          </a:prstGeom>
        </p:spPr>
      </p:pic>
      <p:sp>
        <p:nvSpPr>
          <p:cNvPr id="20" name="TextBox 19">
            <a:extLst>
              <a:ext uri="{FF2B5EF4-FFF2-40B4-BE49-F238E27FC236}">
                <a16:creationId xmlns:a16="http://schemas.microsoft.com/office/drawing/2014/main" id="{B17B14CF-5A54-2721-5A44-C0DBA7429A7C}"/>
              </a:ext>
            </a:extLst>
          </p:cNvPr>
          <p:cNvSpPr txBox="1"/>
          <p:nvPr/>
        </p:nvSpPr>
        <p:spPr>
          <a:xfrm>
            <a:off x="9565997" y="2989482"/>
            <a:ext cx="2437617" cy="609989"/>
          </a:xfrm>
          <a:prstGeom prst="rect">
            <a:avLst/>
          </a:prstGeom>
          <a:noFill/>
        </p:spPr>
        <p:txBody>
          <a:bodyPr rot="0" spcFirstLastPara="0" vertOverflow="overflow" horzOverflow="overflow" vert="horz" wrap="square" lIns="55449" tIns="27725" rIns="55449" bIns="27725" numCol="1" spcCol="0" rtlCol="0" fromWordArt="0" anchor="t" anchorCtr="0" forceAA="0" compatLnSpc="1">
            <a:prstTxWarp prst="textNoShape">
              <a:avLst/>
            </a:prstTxWarp>
            <a:spAutoFit/>
          </a:bodyPr>
          <a:lstStyle/>
          <a:p>
            <a:pPr algn="l"/>
            <a:r>
              <a:rPr lang="en-US" i="1">
                <a:solidFill>
                  <a:schemeClr val="bg1"/>
                </a:solidFill>
              </a:rPr>
              <a:t>833 000 km with fuel combustion</a:t>
            </a:r>
            <a:endParaRPr lang="en-US" sz="1600" i="1">
              <a:solidFill>
                <a:schemeClr val="bg1"/>
              </a:solidFill>
            </a:endParaRPr>
          </a:p>
        </p:txBody>
      </p:sp>
      <p:sp>
        <p:nvSpPr>
          <p:cNvPr id="6" name="object 5">
            <a:extLst>
              <a:ext uri="{FF2B5EF4-FFF2-40B4-BE49-F238E27FC236}">
                <a16:creationId xmlns:a16="http://schemas.microsoft.com/office/drawing/2014/main" id="{6DCFAAE9-91B5-D478-6414-497A2E97739A}"/>
              </a:ext>
            </a:extLst>
          </p:cNvPr>
          <p:cNvSpPr txBox="1">
            <a:spLocks/>
          </p:cNvSpPr>
          <p:nvPr/>
        </p:nvSpPr>
        <p:spPr>
          <a:xfrm>
            <a:off x="393067" y="232095"/>
            <a:ext cx="3731257" cy="527610"/>
          </a:xfrm>
          <a:prstGeom prst="rect">
            <a:avLst/>
          </a:prstGeom>
        </p:spPr>
        <p:txBody>
          <a:bodyPr vert="horz" wrap="square" lIns="0" tIns="98962" rIns="0" bIns="0" rtlCol="0" anchor="t">
            <a:spAutoFit/>
          </a:bodyPr>
          <a:lstStyle>
            <a:defPPr>
              <a:defRPr kern="0"/>
            </a:defPPr>
          </a:lstStyle>
          <a:p>
            <a:pPr marL="7701" marR="3081" indent="152870">
              <a:lnSpc>
                <a:spcPts val="3602"/>
              </a:lnSpc>
              <a:spcBef>
                <a:spcPts val="779"/>
              </a:spcBef>
            </a:pPr>
            <a:r>
              <a:rPr lang="en-US" sz="2800">
                <a:solidFill>
                  <a:schemeClr val="accent1"/>
                </a:solidFill>
                <a:latin typeface="+mj-lt"/>
                <a:ea typeface="+mj-ea"/>
                <a:cs typeface="+mj-cs"/>
              </a:rPr>
              <a:t>Example: Bulk Wood</a:t>
            </a:r>
          </a:p>
        </p:txBody>
      </p:sp>
      <p:pic>
        <p:nvPicPr>
          <p:cNvPr id="7" name="Picture 4">
            <a:extLst>
              <a:ext uri="{FF2B5EF4-FFF2-40B4-BE49-F238E27FC236}">
                <a16:creationId xmlns:a16="http://schemas.microsoft.com/office/drawing/2014/main" id="{62FF626D-2DEC-3919-0A18-A15E50891B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7558" y="1663325"/>
            <a:ext cx="5722456" cy="3808806"/>
          </a:xfrm>
          <a:prstGeom prst="rect">
            <a:avLst/>
          </a:prstGeom>
        </p:spPr>
      </p:pic>
      <p:sp>
        <p:nvSpPr>
          <p:cNvPr id="11" name="TextBox 8">
            <a:extLst>
              <a:ext uri="{FF2B5EF4-FFF2-40B4-BE49-F238E27FC236}">
                <a16:creationId xmlns:a16="http://schemas.microsoft.com/office/drawing/2014/main" id="{45C67A7A-B46B-5CD6-5DE0-C84516E64EFA}"/>
              </a:ext>
            </a:extLst>
          </p:cNvPr>
          <p:cNvSpPr txBox="1"/>
          <p:nvPr/>
        </p:nvSpPr>
        <p:spPr>
          <a:xfrm>
            <a:off x="10250498" y="2479162"/>
            <a:ext cx="790576" cy="332990"/>
          </a:xfrm>
          <a:prstGeom prst="rect">
            <a:avLst/>
          </a:prstGeom>
          <a:noFill/>
        </p:spPr>
        <p:txBody>
          <a:bodyPr rot="0" spcFirstLastPara="0" vertOverflow="overflow" horzOverflow="overflow" vert="horz" wrap="square" lIns="55449" tIns="27725" rIns="55449" bIns="27725" numCol="1" spcCol="0" rtlCol="0" fromWordArt="0" anchor="t" anchorCtr="0" forceAA="0" compatLnSpc="1">
            <a:prstTxWarp prst="textNoShape">
              <a:avLst/>
            </a:prstTxWarp>
            <a:spAutoFit/>
          </a:bodyPr>
          <a:lstStyle/>
          <a:p>
            <a:pPr algn="l"/>
            <a:r>
              <a:rPr lang="en-US" i="1">
                <a:solidFill>
                  <a:schemeClr val="bg1"/>
                </a:solidFill>
              </a:rPr>
              <a:t>or</a:t>
            </a:r>
            <a:endParaRPr lang="en-US" sz="1600" i="1">
              <a:solidFill>
                <a:schemeClr val="bg1"/>
              </a:solidFill>
            </a:endParaRPr>
          </a:p>
        </p:txBody>
      </p:sp>
      <p:sp>
        <p:nvSpPr>
          <p:cNvPr id="13" name="TextBox 8">
            <a:extLst>
              <a:ext uri="{FF2B5EF4-FFF2-40B4-BE49-F238E27FC236}">
                <a16:creationId xmlns:a16="http://schemas.microsoft.com/office/drawing/2014/main" id="{01FCC410-F886-584E-02E4-6790D912289D}"/>
              </a:ext>
            </a:extLst>
          </p:cNvPr>
          <p:cNvSpPr txBox="1"/>
          <p:nvPr/>
        </p:nvSpPr>
        <p:spPr>
          <a:xfrm>
            <a:off x="8745606" y="1444939"/>
            <a:ext cx="2548029" cy="332990"/>
          </a:xfrm>
          <a:prstGeom prst="rect">
            <a:avLst/>
          </a:prstGeom>
          <a:noFill/>
        </p:spPr>
        <p:txBody>
          <a:bodyPr rot="0" spcFirstLastPara="0" vertOverflow="overflow" horzOverflow="overflow" vert="horz" wrap="square" lIns="55449" tIns="27725" rIns="55449" bIns="27725" numCol="1" spcCol="0" rtlCol="0" fromWordArt="0" anchor="t" anchorCtr="0" forceAA="0" compatLnSpc="1">
            <a:prstTxWarp prst="textNoShape">
              <a:avLst/>
            </a:prstTxWarp>
            <a:spAutoFit/>
          </a:bodyPr>
          <a:lstStyle/>
          <a:p>
            <a:pPr algn="l"/>
            <a:r>
              <a:rPr lang="en-US" i="1">
                <a:solidFill>
                  <a:schemeClr val="bg1"/>
                </a:solidFill>
              </a:rPr>
              <a:t>Savings equal to:</a:t>
            </a:r>
            <a:endParaRPr lang="en-US" sz="1600" i="1">
              <a:solidFill>
                <a:schemeClr val="bg1"/>
              </a:solidFill>
            </a:endParaRPr>
          </a:p>
        </p:txBody>
      </p:sp>
      <p:sp>
        <p:nvSpPr>
          <p:cNvPr id="2" name="Plassholder for bunntekst 1">
            <a:extLst>
              <a:ext uri="{FF2B5EF4-FFF2-40B4-BE49-F238E27FC236}">
                <a16:creationId xmlns:a16="http://schemas.microsoft.com/office/drawing/2014/main" id="{0B0C19D0-CB5D-8823-BA5B-94CD1BA156EC}"/>
              </a:ext>
            </a:extLst>
          </p:cNvPr>
          <p:cNvSpPr txBox="1">
            <a:spLocks/>
          </p:cNvSpPr>
          <p:nvPr/>
        </p:nvSpPr>
        <p:spPr>
          <a:xfrm>
            <a:off x="4038600" y="6468527"/>
            <a:ext cx="4114800" cy="32269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
        <p:nvSpPr>
          <p:cNvPr id="5" name="Rektangel 4">
            <a:extLst>
              <a:ext uri="{FF2B5EF4-FFF2-40B4-BE49-F238E27FC236}">
                <a16:creationId xmlns:a16="http://schemas.microsoft.com/office/drawing/2014/main" id="{94C2AAB2-F797-1EB7-3E1F-167261569D3E}"/>
              </a:ext>
            </a:extLst>
          </p:cNvPr>
          <p:cNvSpPr/>
          <p:nvPr/>
        </p:nvSpPr>
        <p:spPr>
          <a:xfrm>
            <a:off x="7050792" y="3952875"/>
            <a:ext cx="1436474" cy="19671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a:solidFill>
                <a:schemeClr val="bg1"/>
              </a:solidFill>
              <a:cs typeface="Calibri"/>
            </a:endParaRPr>
          </a:p>
        </p:txBody>
      </p:sp>
      <p:sp>
        <p:nvSpPr>
          <p:cNvPr id="22" name="TextBox 9">
            <a:extLst>
              <a:ext uri="{FF2B5EF4-FFF2-40B4-BE49-F238E27FC236}">
                <a16:creationId xmlns:a16="http://schemas.microsoft.com/office/drawing/2014/main" id="{F73AEA26-BB70-48EE-773E-39B2CFB34D07}"/>
              </a:ext>
            </a:extLst>
          </p:cNvPr>
          <p:cNvSpPr txBox="1"/>
          <p:nvPr/>
        </p:nvSpPr>
        <p:spPr>
          <a:xfrm>
            <a:off x="8812161" y="4314912"/>
            <a:ext cx="3339298" cy="765160"/>
          </a:xfrm>
          <a:prstGeom prst="rect">
            <a:avLst/>
          </a:prstGeom>
          <a:noFill/>
        </p:spPr>
        <p:txBody>
          <a:bodyPr rot="0" spcFirstLastPara="0" vertOverflow="overflow" horzOverflow="overflow" vert="horz" wrap="square" lIns="55449" tIns="27725" rIns="55449" bIns="27725" numCol="1" spcCol="0" rtlCol="0" fromWordArt="0" anchor="t" anchorCtr="0" forceAA="0" compatLnSpc="1">
            <a:prstTxWarp prst="textNoShape">
              <a:avLst/>
            </a:prstTxWarp>
            <a:spAutoFit/>
          </a:bodyPr>
          <a:lstStyle/>
          <a:p>
            <a:pPr algn="l"/>
            <a:r>
              <a:rPr lang="en-US" sz="2304">
                <a:solidFill>
                  <a:schemeClr val="bg1"/>
                </a:solidFill>
              </a:rPr>
              <a:t>New construction</a:t>
            </a:r>
            <a:br>
              <a:rPr lang="en-US" sz="2304">
                <a:solidFill>
                  <a:schemeClr val="bg1"/>
                </a:solidFill>
              </a:rPr>
            </a:br>
            <a:r>
              <a:rPr lang="en-US" sz="2304">
                <a:solidFill>
                  <a:schemeClr val="bg1"/>
                </a:solidFill>
              </a:rPr>
              <a:t>= 145 000 kg CO2e</a:t>
            </a:r>
            <a:endParaRPr lang="en-US">
              <a:solidFill>
                <a:schemeClr val="bg1"/>
              </a:solidFill>
            </a:endParaRPr>
          </a:p>
        </p:txBody>
      </p:sp>
      <p:sp>
        <p:nvSpPr>
          <p:cNvPr id="24" name="TekstSylinder 23">
            <a:extLst>
              <a:ext uri="{FF2B5EF4-FFF2-40B4-BE49-F238E27FC236}">
                <a16:creationId xmlns:a16="http://schemas.microsoft.com/office/drawing/2014/main" id="{20A0D558-7A3B-E46A-FB80-93F7D543BD3D}"/>
              </a:ext>
            </a:extLst>
          </p:cNvPr>
          <p:cNvSpPr txBox="1"/>
          <p:nvPr/>
        </p:nvSpPr>
        <p:spPr>
          <a:xfrm>
            <a:off x="8860399" y="5225138"/>
            <a:ext cx="2977374" cy="923330"/>
          </a:xfrm>
          <a:prstGeom prst="rect">
            <a:avLst/>
          </a:prstGeom>
          <a:noFill/>
        </p:spPr>
        <p:txBody>
          <a:bodyPr wrap="square">
            <a:spAutoFit/>
          </a:bodyPr>
          <a:lstStyle/>
          <a:p>
            <a:pPr algn="l"/>
            <a:r>
              <a:rPr lang="nb-NO">
                <a:solidFill>
                  <a:schemeClr val="bg1"/>
                </a:solidFill>
                <a:cs typeface="Calibri"/>
              </a:rPr>
              <a:t>Wood </a:t>
            </a:r>
            <a:r>
              <a:rPr lang="nb-NO" err="1">
                <a:solidFill>
                  <a:schemeClr val="bg1"/>
                </a:solidFill>
                <a:cs typeface="Calibri"/>
              </a:rPr>
              <a:t>construction</a:t>
            </a:r>
            <a:r>
              <a:rPr lang="nb-NO">
                <a:solidFill>
                  <a:schemeClr val="bg1"/>
                </a:solidFill>
                <a:cs typeface="Calibri"/>
              </a:rPr>
              <a:t> </a:t>
            </a:r>
            <a:r>
              <a:rPr lang="nb-NO" err="1">
                <a:solidFill>
                  <a:schemeClr val="bg1"/>
                </a:solidFill>
                <a:cs typeface="Calibri"/>
              </a:rPr>
              <a:t>with</a:t>
            </a:r>
            <a:r>
              <a:rPr lang="nb-NO">
                <a:solidFill>
                  <a:schemeClr val="bg1"/>
                </a:solidFill>
                <a:cs typeface="Calibri"/>
              </a:rPr>
              <a:t> </a:t>
            </a:r>
            <a:r>
              <a:rPr lang="nb-NO" err="1">
                <a:solidFill>
                  <a:schemeClr val="bg1"/>
                </a:solidFill>
                <a:cs typeface="Calibri"/>
              </a:rPr>
              <a:t>steel</a:t>
            </a:r>
            <a:r>
              <a:rPr lang="nb-NO">
                <a:solidFill>
                  <a:schemeClr val="bg1"/>
                </a:solidFill>
                <a:cs typeface="Calibri"/>
              </a:rPr>
              <a:t> </a:t>
            </a:r>
            <a:r>
              <a:rPr lang="en-GB">
                <a:solidFill>
                  <a:schemeClr val="bg1"/>
                </a:solidFill>
                <a:cs typeface="Calibri"/>
              </a:rPr>
              <a:t>footplate, wind bracing, and joints</a:t>
            </a:r>
          </a:p>
        </p:txBody>
      </p:sp>
    </p:spTree>
    <p:extLst>
      <p:ext uri="{BB962C8B-B14F-4D97-AF65-F5344CB8AC3E}">
        <p14:creationId xmlns:p14="http://schemas.microsoft.com/office/powerpoint/2010/main" val="29541457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9"/>
            <a:ext cx="4114800" cy="322690"/>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a:solidFill>
                  <a:schemeClr val="bg1"/>
                </a:solidFill>
                <a:latin typeface="Arial"/>
                <a:cs typeface="Arial"/>
              </a:rPr>
              <a:t>Introduction to Bulk Infrastructure</a:t>
            </a:r>
            <a:endParaRPr lang="en-US" altLang="nb-NO" sz="2000">
              <a:solidFill>
                <a:schemeClr val="bg1"/>
              </a:solidFill>
              <a:cs typeface="Arial"/>
            </a:endParaRPr>
          </a:p>
          <a:p>
            <a:pPr marL="457200" indent="-457200" eaLnBrk="1" hangingPunct="1">
              <a:buAutoNum type="arabicPeriod"/>
            </a:pPr>
            <a:r>
              <a:rPr lang="en-US" altLang="nb-NO" sz="2000">
                <a:solidFill>
                  <a:schemeClr val="bg1"/>
                </a:solidFill>
                <a:latin typeface="Arial"/>
                <a:cs typeface="Arial"/>
              </a:rPr>
              <a:t>Sustainability Framework</a:t>
            </a:r>
            <a:endParaRPr lang="en-US" altLang="nb-NO" sz="2000">
              <a:solidFill>
                <a:schemeClr val="bg1"/>
              </a:solidFill>
              <a:cs typeface="Arial"/>
            </a:endParaRPr>
          </a:p>
          <a:p>
            <a:pPr marL="843280" lvl="1" indent="-457200">
              <a:buAutoNum type="alphaLcParenR"/>
            </a:pPr>
            <a:r>
              <a:rPr lang="en-US" altLang="nb-NO" sz="1600">
                <a:solidFill>
                  <a:schemeClr val="bg1"/>
                </a:solidFill>
                <a:latin typeface="Arial"/>
                <a:cs typeface="Arial"/>
              </a:rPr>
              <a:t>Location</a:t>
            </a:r>
          </a:p>
          <a:p>
            <a:pPr marL="843280" lvl="1" indent="-457200">
              <a:buAutoNum type="alphaLcParenR"/>
            </a:pPr>
            <a:r>
              <a:rPr lang="en-US" altLang="nb-NO" sz="1600">
                <a:solidFill>
                  <a:schemeClr val="bg1"/>
                </a:solidFill>
                <a:latin typeface="Arial"/>
                <a:cs typeface="Arial"/>
              </a:rPr>
              <a:t>Asset</a:t>
            </a:r>
          </a:p>
          <a:p>
            <a:pPr marL="843280" lvl="1" indent="-457200">
              <a:buAutoNum type="alphaLcParenR"/>
            </a:pPr>
            <a:r>
              <a:rPr lang="en-US" altLang="nb-NO" sz="1600">
                <a:solidFill>
                  <a:schemeClr val="bg1"/>
                </a:solidFill>
                <a:latin typeface="Arial"/>
                <a:cs typeface="Arial"/>
              </a:rPr>
              <a:t>Ecosystem</a:t>
            </a:r>
          </a:p>
          <a:p>
            <a:pPr marL="843280" lvl="1" indent="-457200">
              <a:buAutoNum type="alphaLcParenR"/>
            </a:pPr>
            <a:r>
              <a:rPr lang="en-US" altLang="nb-NO" sz="1600">
                <a:solidFill>
                  <a:schemeClr val="bg1"/>
                </a:solidFill>
                <a:latin typeface="Arial"/>
                <a:cs typeface="Arial"/>
              </a:rPr>
              <a:t>Society</a:t>
            </a:r>
          </a:p>
          <a:p>
            <a:pPr marL="457200" indent="-457200">
              <a:buAutoNum type="arabicPeriod"/>
            </a:pPr>
            <a:r>
              <a:rPr lang="en-US" altLang="nb-NO" sz="2000">
                <a:solidFill>
                  <a:schemeClr val="bg1"/>
                </a:solidFill>
                <a:latin typeface="Arial"/>
                <a:cs typeface="Arial"/>
              </a:rPr>
              <a:t>Climate Budget and reporting</a:t>
            </a:r>
            <a:endParaRPr lang="en-US">
              <a:solidFill>
                <a:schemeClr val="bg1"/>
              </a:solidFill>
            </a:endParaRPr>
          </a:p>
          <a:p>
            <a:pPr marL="457200" indent="-457200" eaLnBrk="1" hangingPunct="1">
              <a:buAutoNum type="arabicPeriod"/>
            </a:pPr>
            <a:r>
              <a:rPr lang="en-US" altLang="nb-NO" sz="2000">
                <a:solidFill>
                  <a:schemeClr val="bg1"/>
                </a:solidFill>
                <a:latin typeface="Arial"/>
                <a:cs typeface="Arial"/>
              </a:rPr>
              <a:t>Finding solutions</a:t>
            </a:r>
          </a:p>
          <a:p>
            <a:pPr marL="457200" indent="-457200" eaLnBrk="1" hangingPunct="1">
              <a:buAutoNum type="arabicPeriod"/>
            </a:pPr>
            <a:endParaRPr lang="en-US" altLang="nb-NO" sz="2000">
              <a:solidFill>
                <a:schemeClr val="bg1"/>
              </a:solidFill>
              <a:cs typeface="Arial" panose="020B0604020202020204" pitchFamily="34" charset="0"/>
            </a:endParaRPr>
          </a:p>
        </p:txBody>
      </p:sp>
      <p:sp>
        <p:nvSpPr>
          <p:cNvPr id="6" name="Rectangle 1">
            <a:extLst>
              <a:ext uri="{FF2B5EF4-FFF2-40B4-BE49-F238E27FC236}">
                <a16:creationId xmlns:a16="http://schemas.microsoft.com/office/drawing/2014/main" id="{B51EF0DE-4C1C-E2F6-96E1-D58F47B7B81E}"/>
              </a:ext>
            </a:extLst>
          </p:cNvPr>
          <p:cNvSpPr/>
          <p:nvPr/>
        </p:nvSpPr>
        <p:spPr>
          <a:xfrm>
            <a:off x="1239044" y="3702174"/>
            <a:ext cx="4190206" cy="22848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err="1"/>
          </a:p>
        </p:txBody>
      </p:sp>
    </p:spTree>
    <p:extLst>
      <p:ext uri="{BB962C8B-B14F-4D97-AF65-F5344CB8AC3E}">
        <p14:creationId xmlns:p14="http://schemas.microsoft.com/office/powerpoint/2010/main" val="3042767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6" name="Slide Number Placeholder 4">
            <a:extLst>
              <a:ext uri="{FF2B5EF4-FFF2-40B4-BE49-F238E27FC236}">
                <a16:creationId xmlns:a16="http://schemas.microsoft.com/office/drawing/2014/main" id="{9FAC875A-113A-05CD-87EC-CEE6DF0E69DA}"/>
              </a:ext>
            </a:extLst>
          </p:cNvPr>
          <p:cNvSpPr>
            <a:spLocks noGrp="1"/>
          </p:cNvSpPr>
          <p:nvPr>
            <p:ph type="sldNum" sz="quarter" idx="12"/>
          </p:nvPr>
        </p:nvSpPr>
        <p:spPr>
          <a:xfrm>
            <a:off x="11418888" y="6542088"/>
            <a:ext cx="368300" cy="231775"/>
          </a:xfrm>
        </p:spPr>
        <p:txBody>
          <a:bodyPr/>
          <a:lstStyle/>
          <a:p>
            <a:pPr>
              <a:spcAft>
                <a:spcPts val="600"/>
              </a:spcAft>
              <a:defRPr/>
            </a:pPr>
            <a:fld id="{FB155568-9D23-48D5-ADBD-2C51E64E96A1}" type="slidenum">
              <a:rPr lang="en-US"/>
              <a:pPr>
                <a:spcAft>
                  <a:spcPts val="600"/>
                </a:spcAft>
                <a:defRPr/>
              </a:pPr>
              <a:t>2</a:t>
            </a:fld>
            <a:endParaRPr lang="en-US"/>
          </a:p>
        </p:txBody>
      </p:sp>
      <p:pic>
        <p:nvPicPr>
          <p:cNvPr id="4" name="Picture 3">
            <a:extLst>
              <a:ext uri="{FF2B5EF4-FFF2-40B4-BE49-F238E27FC236}">
                <a16:creationId xmlns:a16="http://schemas.microsoft.com/office/drawing/2014/main" id="{85FD0A2B-596F-E1BC-6668-A1D9C54AE364}"/>
              </a:ext>
            </a:extLst>
          </p:cNvPr>
          <p:cNvPicPr>
            <a:picLocks noChangeAspect="1"/>
          </p:cNvPicPr>
          <p:nvPr/>
        </p:nvPicPr>
        <p:blipFill>
          <a:blip r:embed="rId3"/>
          <a:stretch>
            <a:fillRect/>
          </a:stretch>
        </p:blipFill>
        <p:spPr>
          <a:xfrm>
            <a:off x="1084030" y="1951148"/>
            <a:ext cx="3942437" cy="3164075"/>
          </a:xfrm>
          <a:prstGeom prst="rect">
            <a:avLst/>
          </a:prstGeom>
        </p:spPr>
      </p:pic>
      <p:sp>
        <p:nvSpPr>
          <p:cNvPr id="5" name="Tittel 1">
            <a:extLst>
              <a:ext uri="{FF2B5EF4-FFF2-40B4-BE49-F238E27FC236}">
                <a16:creationId xmlns:a16="http://schemas.microsoft.com/office/drawing/2014/main" id="{DA942FE1-D64F-E95D-CD99-776E930DD124}"/>
              </a:ext>
            </a:extLst>
          </p:cNvPr>
          <p:cNvSpPr>
            <a:spLocks noGrp="1" noChangeArrowheads="1"/>
          </p:cNvSpPr>
          <p:nvPr>
            <p:ph type="title"/>
          </p:nvPr>
        </p:nvSpPr>
        <p:spPr>
          <a:xfrm>
            <a:off x="5921598" y="1951148"/>
            <a:ext cx="4587563" cy="729430"/>
          </a:xfrm>
        </p:spPr>
        <p:txBody>
          <a:bodyPr/>
          <a:lstStyle/>
          <a:p>
            <a:pPr eaLnBrk="1" hangingPunct="1"/>
            <a:r>
              <a:rPr lang="nb-NO" altLang="en-US"/>
              <a:t>Merete Caubet</a:t>
            </a:r>
            <a:br>
              <a:rPr lang="nb-NO" altLang="en-US"/>
            </a:br>
            <a:r>
              <a:rPr lang="en-US" sz="1800" i="1">
                <a:solidFill>
                  <a:schemeClr val="bg1"/>
                </a:solidFill>
                <a:latin typeface="+mn-lt"/>
                <a:ea typeface="+mn-ea"/>
                <a:cs typeface="+mn-cs"/>
              </a:rPr>
              <a:t>SVP Fiber Networks, BULK Infrastructure</a:t>
            </a:r>
            <a:endParaRPr lang="nb-NO" altLang="en-US">
              <a:solidFill>
                <a:schemeClr val="bg1"/>
              </a:solidFill>
              <a:cs typeface="Arial" panose="020B0604020202020204"/>
            </a:endParaRPr>
          </a:p>
        </p:txBody>
      </p:sp>
    </p:spTree>
    <p:extLst>
      <p:ext uri="{BB962C8B-B14F-4D97-AF65-F5344CB8AC3E}">
        <p14:creationId xmlns:p14="http://schemas.microsoft.com/office/powerpoint/2010/main" val="33273920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1EF884C5-66DB-96BD-E0BF-5A05CC01442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9B271B-0BAC-0154-4F14-AB18B67D70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42" progId="TCLayout.ActiveDocument.1">
                  <p:embed/>
                </p:oleObj>
              </mc:Choice>
              <mc:Fallback>
                <p:oleObj name="think-cell Slide" r:id="rId4" imgW="639" imgH="642" progId="TCLayout.ActiveDocument.1">
                  <p:embed/>
                  <p:pic>
                    <p:nvPicPr>
                      <p:cNvPr id="10" name="think-cell data - do not delete" hidden="1">
                        <a:extLst>
                          <a:ext uri="{FF2B5EF4-FFF2-40B4-BE49-F238E27FC236}">
                            <a16:creationId xmlns:a16="http://schemas.microsoft.com/office/drawing/2014/main" id="{649B271B-0BAC-0154-4F14-AB18B67D70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Content Placeholder 8">
            <a:extLst>
              <a:ext uri="{FF2B5EF4-FFF2-40B4-BE49-F238E27FC236}">
                <a16:creationId xmlns:a16="http://schemas.microsoft.com/office/drawing/2014/main" id="{25717057-891A-E97C-74CC-0C17E20B52A6}"/>
              </a:ext>
            </a:extLst>
          </p:cNvPr>
          <p:cNvPicPr>
            <a:picLocks noGrp="1" noChangeAspect="1"/>
          </p:cNvPicPr>
          <p:nvPr>
            <p:ph idx="1"/>
          </p:nvPr>
        </p:nvPicPr>
        <p:blipFill rotWithShape="1">
          <a:blip r:embed="rId6" cstate="screen">
            <a:extLst>
              <a:ext uri="{28A0092B-C50C-407E-A947-70E740481C1C}">
                <a14:useLocalDpi xmlns:a14="http://schemas.microsoft.com/office/drawing/2010/main"/>
              </a:ext>
            </a:extLst>
          </a:blip>
          <a:srcRect/>
          <a:stretch>
            <a:fillRect/>
          </a:stretch>
        </p:blipFill>
        <p:spPr>
          <a:xfrm>
            <a:off x="-4903" y="0"/>
            <a:ext cx="12201492" cy="6858000"/>
          </a:xfrm>
        </p:spPr>
      </p:pic>
      <p:sp>
        <p:nvSpPr>
          <p:cNvPr id="2" name="Title 1">
            <a:extLst>
              <a:ext uri="{FF2B5EF4-FFF2-40B4-BE49-F238E27FC236}">
                <a16:creationId xmlns:a16="http://schemas.microsoft.com/office/drawing/2014/main" id="{B51F8C98-98B7-EC11-88F2-F6D0F7439B56}"/>
              </a:ext>
            </a:extLst>
          </p:cNvPr>
          <p:cNvSpPr>
            <a:spLocks noGrp="1"/>
          </p:cNvSpPr>
          <p:nvPr>
            <p:ph type="title"/>
          </p:nvPr>
        </p:nvSpPr>
        <p:spPr>
          <a:xfrm>
            <a:off x="1590675" y="473076"/>
            <a:ext cx="9369425" cy="812530"/>
          </a:xfrm>
        </p:spPr>
        <p:txBody>
          <a:bodyPr vert="horz"/>
          <a:lstStyle/>
          <a:p>
            <a:r>
              <a:rPr lang="en-GB" dirty="0"/>
              <a:t>Ecosystem at N01 Data </a:t>
            </a:r>
            <a:r>
              <a:rPr lang="en-GB" dirty="0" err="1"/>
              <a:t>Center</a:t>
            </a:r>
            <a:r>
              <a:rPr lang="en-GB" dirty="0"/>
              <a:t> Campus </a:t>
            </a:r>
            <a:br>
              <a:rPr lang="en-GB" dirty="0"/>
            </a:br>
            <a:endParaRPr lang="en-GB" sz="2400" dirty="0">
              <a:solidFill>
                <a:schemeClr val="tx1"/>
              </a:solidFill>
            </a:endParaRPr>
          </a:p>
        </p:txBody>
      </p:sp>
      <p:sp>
        <p:nvSpPr>
          <p:cNvPr id="42" name="Free-form: Shape 41">
            <a:extLst>
              <a:ext uri="{FF2B5EF4-FFF2-40B4-BE49-F238E27FC236}">
                <a16:creationId xmlns:a16="http://schemas.microsoft.com/office/drawing/2014/main" id="{2D4A6152-BF92-D1DC-77DF-DECDC23A1FC2}"/>
              </a:ext>
            </a:extLst>
          </p:cNvPr>
          <p:cNvSpPr>
            <a:spLocks/>
          </p:cNvSpPr>
          <p:nvPr/>
        </p:nvSpPr>
        <p:spPr>
          <a:xfrm>
            <a:off x="7428244" y="2243817"/>
            <a:ext cx="4323303" cy="1891079"/>
          </a:xfrm>
          <a:custGeom>
            <a:avLst/>
            <a:gdLst>
              <a:gd name="connsiteX0" fmla="*/ 0 w 4323303"/>
              <a:gd name="connsiteY0" fmla="*/ 1755949 h 1881554"/>
              <a:gd name="connsiteX1" fmla="*/ 509954 w 4323303"/>
              <a:gd name="connsiteY1" fmla="*/ 1489668 h 1881554"/>
              <a:gd name="connsiteX2" fmla="*/ 628022 w 4323303"/>
              <a:gd name="connsiteY2" fmla="*/ 1494692 h 1881554"/>
              <a:gd name="connsiteX3" fmla="*/ 1399233 w 4323303"/>
              <a:gd name="connsiteY3" fmla="*/ 1283677 h 1881554"/>
              <a:gd name="connsiteX4" fmla="*/ 1695659 w 4323303"/>
              <a:gd name="connsiteY4" fmla="*/ 1183193 h 1881554"/>
              <a:gd name="connsiteX5" fmla="*/ 1798655 w 4323303"/>
              <a:gd name="connsiteY5" fmla="*/ 1112855 h 1881554"/>
              <a:gd name="connsiteX6" fmla="*/ 1838848 w 4323303"/>
              <a:gd name="connsiteY6" fmla="*/ 1080198 h 1881554"/>
              <a:gd name="connsiteX7" fmla="*/ 1871505 w 4323303"/>
              <a:gd name="connsiteY7" fmla="*/ 949569 h 1881554"/>
              <a:gd name="connsiteX8" fmla="*/ 1745901 w 4323303"/>
              <a:gd name="connsiteY8" fmla="*/ 695848 h 1881554"/>
              <a:gd name="connsiteX9" fmla="*/ 1637881 w 4323303"/>
              <a:gd name="connsiteY9" fmla="*/ 537587 h 1881554"/>
              <a:gd name="connsiteX10" fmla="*/ 2265903 w 4323303"/>
              <a:gd name="connsiteY10" fmla="*/ 0 h 1881554"/>
              <a:gd name="connsiteX11" fmla="*/ 2836147 w 4323303"/>
              <a:gd name="connsiteY11" fmla="*/ 40193 h 1881554"/>
              <a:gd name="connsiteX12" fmla="*/ 3001945 w 4323303"/>
              <a:gd name="connsiteY12" fmla="*/ 77875 h 1881554"/>
              <a:gd name="connsiteX13" fmla="*/ 3715378 w 4323303"/>
              <a:gd name="connsiteY13" fmla="*/ 160773 h 1881554"/>
              <a:gd name="connsiteX14" fmla="*/ 4016829 w 4323303"/>
              <a:gd name="connsiteY14" fmla="*/ 228600 h 1881554"/>
              <a:gd name="connsiteX15" fmla="*/ 4227844 w 4323303"/>
              <a:gd name="connsiteY15" fmla="*/ 288890 h 1881554"/>
              <a:gd name="connsiteX16" fmla="*/ 4255477 w 4323303"/>
              <a:gd name="connsiteY16" fmla="*/ 396910 h 1881554"/>
              <a:gd name="connsiteX17" fmla="*/ 4290646 w 4323303"/>
              <a:gd name="connsiteY17" fmla="*/ 605413 h 1881554"/>
              <a:gd name="connsiteX18" fmla="*/ 4182626 w 4323303"/>
              <a:gd name="connsiteY18" fmla="*/ 823965 h 1881554"/>
              <a:gd name="connsiteX19" fmla="*/ 4263013 w 4323303"/>
              <a:gd name="connsiteY19" fmla="*/ 1137976 h 1881554"/>
              <a:gd name="connsiteX20" fmla="*/ 4313255 w 4323303"/>
              <a:gd name="connsiteY20" fmla="*/ 1198266 h 1881554"/>
              <a:gd name="connsiteX21" fmla="*/ 4323303 w 4323303"/>
              <a:gd name="connsiteY21" fmla="*/ 1261068 h 1881554"/>
              <a:gd name="connsiteX22" fmla="*/ 4303207 w 4323303"/>
              <a:gd name="connsiteY22" fmla="*/ 1293725 h 1881554"/>
              <a:gd name="connsiteX23" fmla="*/ 4263013 w 4323303"/>
              <a:gd name="connsiteY23" fmla="*/ 1311310 h 1881554"/>
              <a:gd name="connsiteX24" fmla="*/ 3652576 w 4323303"/>
              <a:gd name="connsiteY24" fmla="*/ 1502228 h 1881554"/>
              <a:gd name="connsiteX25" fmla="*/ 3569677 w 4323303"/>
              <a:gd name="connsiteY25" fmla="*/ 1615272 h 1881554"/>
              <a:gd name="connsiteX26" fmla="*/ 3509387 w 4323303"/>
              <a:gd name="connsiteY26" fmla="*/ 1645417 h 1881554"/>
              <a:gd name="connsiteX27" fmla="*/ 3431512 w 4323303"/>
              <a:gd name="connsiteY27" fmla="*/ 1668026 h 1881554"/>
              <a:gd name="connsiteX28" fmla="*/ 3391319 w 4323303"/>
              <a:gd name="connsiteY28" fmla="*/ 1673050 h 1881554"/>
              <a:gd name="connsiteX29" fmla="*/ 3268226 w 4323303"/>
              <a:gd name="connsiteY29" fmla="*/ 1735853 h 1881554"/>
              <a:gd name="connsiteX30" fmla="*/ 3240593 w 4323303"/>
              <a:gd name="connsiteY30" fmla="*/ 1760973 h 1881554"/>
              <a:gd name="connsiteX31" fmla="*/ 3202912 w 4323303"/>
              <a:gd name="connsiteY31" fmla="*/ 1796143 h 1881554"/>
              <a:gd name="connsiteX32" fmla="*/ 3170255 w 4323303"/>
              <a:gd name="connsiteY32" fmla="*/ 1813727 h 1881554"/>
              <a:gd name="connsiteX33" fmla="*/ 3114989 w 4323303"/>
              <a:gd name="connsiteY33" fmla="*/ 1833824 h 1881554"/>
              <a:gd name="connsiteX34" fmla="*/ 3082332 w 4323303"/>
              <a:gd name="connsiteY34" fmla="*/ 1836336 h 1881554"/>
              <a:gd name="connsiteX35" fmla="*/ 3034602 w 4323303"/>
              <a:gd name="connsiteY35" fmla="*/ 1838848 h 1881554"/>
              <a:gd name="connsiteX36" fmla="*/ 2969288 w 4323303"/>
              <a:gd name="connsiteY36" fmla="*/ 1848897 h 1881554"/>
              <a:gd name="connsiteX37" fmla="*/ 2268415 w 4323303"/>
              <a:gd name="connsiteY37" fmla="*/ 1806191 h 1881554"/>
              <a:gd name="connsiteX38" fmla="*/ 1926771 w 4323303"/>
              <a:gd name="connsiteY38" fmla="*/ 1803679 h 1881554"/>
              <a:gd name="connsiteX39" fmla="*/ 1728316 w 4323303"/>
              <a:gd name="connsiteY39" fmla="*/ 1806191 h 1881554"/>
              <a:gd name="connsiteX40" fmla="*/ 1220875 w 4323303"/>
              <a:gd name="connsiteY40" fmla="*/ 1874017 h 1881554"/>
              <a:gd name="connsiteX41" fmla="*/ 1040004 w 4323303"/>
              <a:gd name="connsiteY41" fmla="*/ 1881554 h 1881554"/>
              <a:gd name="connsiteX42" fmla="*/ 0 w 4323303"/>
              <a:gd name="connsiteY42" fmla="*/ 1755949 h 1881554"/>
              <a:gd name="connsiteX0" fmla="*/ 0 w 4323303"/>
              <a:gd name="connsiteY0" fmla="*/ 1755949 h 1881554"/>
              <a:gd name="connsiteX1" fmla="*/ 509954 w 4323303"/>
              <a:gd name="connsiteY1" fmla="*/ 1489668 h 1881554"/>
              <a:gd name="connsiteX2" fmla="*/ 628022 w 4323303"/>
              <a:gd name="connsiteY2" fmla="*/ 1494692 h 1881554"/>
              <a:gd name="connsiteX3" fmla="*/ 1399233 w 4323303"/>
              <a:gd name="connsiteY3" fmla="*/ 1283677 h 1881554"/>
              <a:gd name="connsiteX4" fmla="*/ 1695659 w 4323303"/>
              <a:gd name="connsiteY4" fmla="*/ 1183193 h 1881554"/>
              <a:gd name="connsiteX5" fmla="*/ 1798655 w 4323303"/>
              <a:gd name="connsiteY5" fmla="*/ 1112855 h 1881554"/>
              <a:gd name="connsiteX6" fmla="*/ 1838848 w 4323303"/>
              <a:gd name="connsiteY6" fmla="*/ 1080198 h 1881554"/>
              <a:gd name="connsiteX7" fmla="*/ 1871505 w 4323303"/>
              <a:gd name="connsiteY7" fmla="*/ 949569 h 1881554"/>
              <a:gd name="connsiteX8" fmla="*/ 1429195 w 4323303"/>
              <a:gd name="connsiteY8" fmla="*/ 600598 h 1881554"/>
              <a:gd name="connsiteX9" fmla="*/ 1637881 w 4323303"/>
              <a:gd name="connsiteY9" fmla="*/ 537587 h 1881554"/>
              <a:gd name="connsiteX10" fmla="*/ 2265903 w 4323303"/>
              <a:gd name="connsiteY10" fmla="*/ 0 h 1881554"/>
              <a:gd name="connsiteX11" fmla="*/ 2836147 w 4323303"/>
              <a:gd name="connsiteY11" fmla="*/ 40193 h 1881554"/>
              <a:gd name="connsiteX12" fmla="*/ 3001945 w 4323303"/>
              <a:gd name="connsiteY12" fmla="*/ 77875 h 1881554"/>
              <a:gd name="connsiteX13" fmla="*/ 3715378 w 4323303"/>
              <a:gd name="connsiteY13" fmla="*/ 160773 h 1881554"/>
              <a:gd name="connsiteX14" fmla="*/ 4016829 w 4323303"/>
              <a:gd name="connsiteY14" fmla="*/ 228600 h 1881554"/>
              <a:gd name="connsiteX15" fmla="*/ 4227844 w 4323303"/>
              <a:gd name="connsiteY15" fmla="*/ 288890 h 1881554"/>
              <a:gd name="connsiteX16" fmla="*/ 4255477 w 4323303"/>
              <a:gd name="connsiteY16" fmla="*/ 396910 h 1881554"/>
              <a:gd name="connsiteX17" fmla="*/ 4290646 w 4323303"/>
              <a:gd name="connsiteY17" fmla="*/ 605413 h 1881554"/>
              <a:gd name="connsiteX18" fmla="*/ 4182626 w 4323303"/>
              <a:gd name="connsiteY18" fmla="*/ 823965 h 1881554"/>
              <a:gd name="connsiteX19" fmla="*/ 4263013 w 4323303"/>
              <a:gd name="connsiteY19" fmla="*/ 1137976 h 1881554"/>
              <a:gd name="connsiteX20" fmla="*/ 4313255 w 4323303"/>
              <a:gd name="connsiteY20" fmla="*/ 1198266 h 1881554"/>
              <a:gd name="connsiteX21" fmla="*/ 4323303 w 4323303"/>
              <a:gd name="connsiteY21" fmla="*/ 1261068 h 1881554"/>
              <a:gd name="connsiteX22" fmla="*/ 4303207 w 4323303"/>
              <a:gd name="connsiteY22" fmla="*/ 1293725 h 1881554"/>
              <a:gd name="connsiteX23" fmla="*/ 4263013 w 4323303"/>
              <a:gd name="connsiteY23" fmla="*/ 1311310 h 1881554"/>
              <a:gd name="connsiteX24" fmla="*/ 3652576 w 4323303"/>
              <a:gd name="connsiteY24" fmla="*/ 1502228 h 1881554"/>
              <a:gd name="connsiteX25" fmla="*/ 3569677 w 4323303"/>
              <a:gd name="connsiteY25" fmla="*/ 1615272 h 1881554"/>
              <a:gd name="connsiteX26" fmla="*/ 3509387 w 4323303"/>
              <a:gd name="connsiteY26" fmla="*/ 1645417 h 1881554"/>
              <a:gd name="connsiteX27" fmla="*/ 3431512 w 4323303"/>
              <a:gd name="connsiteY27" fmla="*/ 1668026 h 1881554"/>
              <a:gd name="connsiteX28" fmla="*/ 3391319 w 4323303"/>
              <a:gd name="connsiteY28" fmla="*/ 1673050 h 1881554"/>
              <a:gd name="connsiteX29" fmla="*/ 3268226 w 4323303"/>
              <a:gd name="connsiteY29" fmla="*/ 1735853 h 1881554"/>
              <a:gd name="connsiteX30" fmla="*/ 3240593 w 4323303"/>
              <a:gd name="connsiteY30" fmla="*/ 1760973 h 1881554"/>
              <a:gd name="connsiteX31" fmla="*/ 3202912 w 4323303"/>
              <a:gd name="connsiteY31" fmla="*/ 1796143 h 1881554"/>
              <a:gd name="connsiteX32" fmla="*/ 3170255 w 4323303"/>
              <a:gd name="connsiteY32" fmla="*/ 1813727 h 1881554"/>
              <a:gd name="connsiteX33" fmla="*/ 3114989 w 4323303"/>
              <a:gd name="connsiteY33" fmla="*/ 1833824 h 1881554"/>
              <a:gd name="connsiteX34" fmla="*/ 3082332 w 4323303"/>
              <a:gd name="connsiteY34" fmla="*/ 1836336 h 1881554"/>
              <a:gd name="connsiteX35" fmla="*/ 3034602 w 4323303"/>
              <a:gd name="connsiteY35" fmla="*/ 1838848 h 1881554"/>
              <a:gd name="connsiteX36" fmla="*/ 2969288 w 4323303"/>
              <a:gd name="connsiteY36" fmla="*/ 1848897 h 1881554"/>
              <a:gd name="connsiteX37" fmla="*/ 2268415 w 4323303"/>
              <a:gd name="connsiteY37" fmla="*/ 1806191 h 1881554"/>
              <a:gd name="connsiteX38" fmla="*/ 1926771 w 4323303"/>
              <a:gd name="connsiteY38" fmla="*/ 1803679 h 1881554"/>
              <a:gd name="connsiteX39" fmla="*/ 1728316 w 4323303"/>
              <a:gd name="connsiteY39" fmla="*/ 1806191 h 1881554"/>
              <a:gd name="connsiteX40" fmla="*/ 1220875 w 4323303"/>
              <a:gd name="connsiteY40" fmla="*/ 1874017 h 1881554"/>
              <a:gd name="connsiteX41" fmla="*/ 1040004 w 4323303"/>
              <a:gd name="connsiteY41" fmla="*/ 1881554 h 1881554"/>
              <a:gd name="connsiteX42" fmla="*/ 0 w 4323303"/>
              <a:gd name="connsiteY42" fmla="*/ 1755949 h 1881554"/>
              <a:gd name="connsiteX0" fmla="*/ 0 w 4323303"/>
              <a:gd name="connsiteY0" fmla="*/ 1755949 h 1881554"/>
              <a:gd name="connsiteX1" fmla="*/ 509954 w 4323303"/>
              <a:gd name="connsiteY1" fmla="*/ 1489668 h 1881554"/>
              <a:gd name="connsiteX2" fmla="*/ 628022 w 4323303"/>
              <a:gd name="connsiteY2" fmla="*/ 1494692 h 1881554"/>
              <a:gd name="connsiteX3" fmla="*/ 1399233 w 4323303"/>
              <a:gd name="connsiteY3" fmla="*/ 1283677 h 1881554"/>
              <a:gd name="connsiteX4" fmla="*/ 1695659 w 4323303"/>
              <a:gd name="connsiteY4" fmla="*/ 1183193 h 1881554"/>
              <a:gd name="connsiteX5" fmla="*/ 1798655 w 4323303"/>
              <a:gd name="connsiteY5" fmla="*/ 1112855 h 1881554"/>
              <a:gd name="connsiteX6" fmla="*/ 1838848 w 4323303"/>
              <a:gd name="connsiteY6" fmla="*/ 1080198 h 1881554"/>
              <a:gd name="connsiteX7" fmla="*/ 1871505 w 4323303"/>
              <a:gd name="connsiteY7" fmla="*/ 949569 h 1881554"/>
              <a:gd name="connsiteX8" fmla="*/ 1429195 w 4323303"/>
              <a:gd name="connsiteY8" fmla="*/ 600598 h 1881554"/>
              <a:gd name="connsiteX9" fmla="*/ 1909344 w 4323303"/>
              <a:gd name="connsiteY9" fmla="*/ 192306 h 1881554"/>
              <a:gd name="connsiteX10" fmla="*/ 2265903 w 4323303"/>
              <a:gd name="connsiteY10" fmla="*/ 0 h 1881554"/>
              <a:gd name="connsiteX11" fmla="*/ 2836147 w 4323303"/>
              <a:gd name="connsiteY11" fmla="*/ 40193 h 1881554"/>
              <a:gd name="connsiteX12" fmla="*/ 3001945 w 4323303"/>
              <a:gd name="connsiteY12" fmla="*/ 77875 h 1881554"/>
              <a:gd name="connsiteX13" fmla="*/ 3715378 w 4323303"/>
              <a:gd name="connsiteY13" fmla="*/ 160773 h 1881554"/>
              <a:gd name="connsiteX14" fmla="*/ 4016829 w 4323303"/>
              <a:gd name="connsiteY14" fmla="*/ 228600 h 1881554"/>
              <a:gd name="connsiteX15" fmla="*/ 4227844 w 4323303"/>
              <a:gd name="connsiteY15" fmla="*/ 288890 h 1881554"/>
              <a:gd name="connsiteX16" fmla="*/ 4255477 w 4323303"/>
              <a:gd name="connsiteY16" fmla="*/ 396910 h 1881554"/>
              <a:gd name="connsiteX17" fmla="*/ 4290646 w 4323303"/>
              <a:gd name="connsiteY17" fmla="*/ 605413 h 1881554"/>
              <a:gd name="connsiteX18" fmla="*/ 4182626 w 4323303"/>
              <a:gd name="connsiteY18" fmla="*/ 823965 h 1881554"/>
              <a:gd name="connsiteX19" fmla="*/ 4263013 w 4323303"/>
              <a:gd name="connsiteY19" fmla="*/ 1137976 h 1881554"/>
              <a:gd name="connsiteX20" fmla="*/ 4313255 w 4323303"/>
              <a:gd name="connsiteY20" fmla="*/ 1198266 h 1881554"/>
              <a:gd name="connsiteX21" fmla="*/ 4323303 w 4323303"/>
              <a:gd name="connsiteY21" fmla="*/ 1261068 h 1881554"/>
              <a:gd name="connsiteX22" fmla="*/ 4303207 w 4323303"/>
              <a:gd name="connsiteY22" fmla="*/ 1293725 h 1881554"/>
              <a:gd name="connsiteX23" fmla="*/ 4263013 w 4323303"/>
              <a:gd name="connsiteY23" fmla="*/ 1311310 h 1881554"/>
              <a:gd name="connsiteX24" fmla="*/ 3652576 w 4323303"/>
              <a:gd name="connsiteY24" fmla="*/ 1502228 h 1881554"/>
              <a:gd name="connsiteX25" fmla="*/ 3569677 w 4323303"/>
              <a:gd name="connsiteY25" fmla="*/ 1615272 h 1881554"/>
              <a:gd name="connsiteX26" fmla="*/ 3509387 w 4323303"/>
              <a:gd name="connsiteY26" fmla="*/ 1645417 h 1881554"/>
              <a:gd name="connsiteX27" fmla="*/ 3431512 w 4323303"/>
              <a:gd name="connsiteY27" fmla="*/ 1668026 h 1881554"/>
              <a:gd name="connsiteX28" fmla="*/ 3391319 w 4323303"/>
              <a:gd name="connsiteY28" fmla="*/ 1673050 h 1881554"/>
              <a:gd name="connsiteX29" fmla="*/ 3268226 w 4323303"/>
              <a:gd name="connsiteY29" fmla="*/ 1735853 h 1881554"/>
              <a:gd name="connsiteX30" fmla="*/ 3240593 w 4323303"/>
              <a:gd name="connsiteY30" fmla="*/ 1760973 h 1881554"/>
              <a:gd name="connsiteX31" fmla="*/ 3202912 w 4323303"/>
              <a:gd name="connsiteY31" fmla="*/ 1796143 h 1881554"/>
              <a:gd name="connsiteX32" fmla="*/ 3170255 w 4323303"/>
              <a:gd name="connsiteY32" fmla="*/ 1813727 h 1881554"/>
              <a:gd name="connsiteX33" fmla="*/ 3114989 w 4323303"/>
              <a:gd name="connsiteY33" fmla="*/ 1833824 h 1881554"/>
              <a:gd name="connsiteX34" fmla="*/ 3082332 w 4323303"/>
              <a:gd name="connsiteY34" fmla="*/ 1836336 h 1881554"/>
              <a:gd name="connsiteX35" fmla="*/ 3034602 w 4323303"/>
              <a:gd name="connsiteY35" fmla="*/ 1838848 h 1881554"/>
              <a:gd name="connsiteX36" fmla="*/ 2969288 w 4323303"/>
              <a:gd name="connsiteY36" fmla="*/ 1848897 h 1881554"/>
              <a:gd name="connsiteX37" fmla="*/ 2268415 w 4323303"/>
              <a:gd name="connsiteY37" fmla="*/ 1806191 h 1881554"/>
              <a:gd name="connsiteX38" fmla="*/ 1926771 w 4323303"/>
              <a:gd name="connsiteY38" fmla="*/ 1803679 h 1881554"/>
              <a:gd name="connsiteX39" fmla="*/ 1728316 w 4323303"/>
              <a:gd name="connsiteY39" fmla="*/ 1806191 h 1881554"/>
              <a:gd name="connsiteX40" fmla="*/ 1220875 w 4323303"/>
              <a:gd name="connsiteY40" fmla="*/ 1874017 h 1881554"/>
              <a:gd name="connsiteX41" fmla="*/ 1040004 w 4323303"/>
              <a:gd name="connsiteY41" fmla="*/ 1881554 h 1881554"/>
              <a:gd name="connsiteX42" fmla="*/ 0 w 4323303"/>
              <a:gd name="connsiteY42" fmla="*/ 1755949 h 1881554"/>
              <a:gd name="connsiteX0" fmla="*/ 0 w 4323303"/>
              <a:gd name="connsiteY0" fmla="*/ 1755949 h 1881554"/>
              <a:gd name="connsiteX1" fmla="*/ 509954 w 4323303"/>
              <a:gd name="connsiteY1" fmla="*/ 1489668 h 1881554"/>
              <a:gd name="connsiteX2" fmla="*/ 628022 w 4323303"/>
              <a:gd name="connsiteY2" fmla="*/ 1494692 h 1881554"/>
              <a:gd name="connsiteX3" fmla="*/ 1399233 w 4323303"/>
              <a:gd name="connsiteY3" fmla="*/ 1283677 h 1881554"/>
              <a:gd name="connsiteX4" fmla="*/ 1695659 w 4323303"/>
              <a:gd name="connsiteY4" fmla="*/ 1183193 h 1881554"/>
              <a:gd name="connsiteX5" fmla="*/ 1798655 w 4323303"/>
              <a:gd name="connsiteY5" fmla="*/ 1112855 h 1881554"/>
              <a:gd name="connsiteX6" fmla="*/ 1838848 w 4323303"/>
              <a:gd name="connsiteY6" fmla="*/ 1080198 h 1881554"/>
              <a:gd name="connsiteX7" fmla="*/ 1871505 w 4323303"/>
              <a:gd name="connsiteY7" fmla="*/ 949569 h 1881554"/>
              <a:gd name="connsiteX8" fmla="*/ 1360139 w 4323303"/>
              <a:gd name="connsiteY8" fmla="*/ 569642 h 1881554"/>
              <a:gd name="connsiteX9" fmla="*/ 1909344 w 4323303"/>
              <a:gd name="connsiteY9" fmla="*/ 192306 h 1881554"/>
              <a:gd name="connsiteX10" fmla="*/ 2265903 w 4323303"/>
              <a:gd name="connsiteY10" fmla="*/ 0 h 1881554"/>
              <a:gd name="connsiteX11" fmla="*/ 2836147 w 4323303"/>
              <a:gd name="connsiteY11" fmla="*/ 40193 h 1881554"/>
              <a:gd name="connsiteX12" fmla="*/ 3001945 w 4323303"/>
              <a:gd name="connsiteY12" fmla="*/ 77875 h 1881554"/>
              <a:gd name="connsiteX13" fmla="*/ 3715378 w 4323303"/>
              <a:gd name="connsiteY13" fmla="*/ 160773 h 1881554"/>
              <a:gd name="connsiteX14" fmla="*/ 4016829 w 4323303"/>
              <a:gd name="connsiteY14" fmla="*/ 228600 h 1881554"/>
              <a:gd name="connsiteX15" fmla="*/ 4227844 w 4323303"/>
              <a:gd name="connsiteY15" fmla="*/ 288890 h 1881554"/>
              <a:gd name="connsiteX16" fmla="*/ 4255477 w 4323303"/>
              <a:gd name="connsiteY16" fmla="*/ 396910 h 1881554"/>
              <a:gd name="connsiteX17" fmla="*/ 4290646 w 4323303"/>
              <a:gd name="connsiteY17" fmla="*/ 605413 h 1881554"/>
              <a:gd name="connsiteX18" fmla="*/ 4182626 w 4323303"/>
              <a:gd name="connsiteY18" fmla="*/ 823965 h 1881554"/>
              <a:gd name="connsiteX19" fmla="*/ 4263013 w 4323303"/>
              <a:gd name="connsiteY19" fmla="*/ 1137976 h 1881554"/>
              <a:gd name="connsiteX20" fmla="*/ 4313255 w 4323303"/>
              <a:gd name="connsiteY20" fmla="*/ 1198266 h 1881554"/>
              <a:gd name="connsiteX21" fmla="*/ 4323303 w 4323303"/>
              <a:gd name="connsiteY21" fmla="*/ 1261068 h 1881554"/>
              <a:gd name="connsiteX22" fmla="*/ 4303207 w 4323303"/>
              <a:gd name="connsiteY22" fmla="*/ 1293725 h 1881554"/>
              <a:gd name="connsiteX23" fmla="*/ 4263013 w 4323303"/>
              <a:gd name="connsiteY23" fmla="*/ 1311310 h 1881554"/>
              <a:gd name="connsiteX24" fmla="*/ 3652576 w 4323303"/>
              <a:gd name="connsiteY24" fmla="*/ 1502228 h 1881554"/>
              <a:gd name="connsiteX25" fmla="*/ 3569677 w 4323303"/>
              <a:gd name="connsiteY25" fmla="*/ 1615272 h 1881554"/>
              <a:gd name="connsiteX26" fmla="*/ 3509387 w 4323303"/>
              <a:gd name="connsiteY26" fmla="*/ 1645417 h 1881554"/>
              <a:gd name="connsiteX27" fmla="*/ 3431512 w 4323303"/>
              <a:gd name="connsiteY27" fmla="*/ 1668026 h 1881554"/>
              <a:gd name="connsiteX28" fmla="*/ 3391319 w 4323303"/>
              <a:gd name="connsiteY28" fmla="*/ 1673050 h 1881554"/>
              <a:gd name="connsiteX29" fmla="*/ 3268226 w 4323303"/>
              <a:gd name="connsiteY29" fmla="*/ 1735853 h 1881554"/>
              <a:gd name="connsiteX30" fmla="*/ 3240593 w 4323303"/>
              <a:gd name="connsiteY30" fmla="*/ 1760973 h 1881554"/>
              <a:gd name="connsiteX31" fmla="*/ 3202912 w 4323303"/>
              <a:gd name="connsiteY31" fmla="*/ 1796143 h 1881554"/>
              <a:gd name="connsiteX32" fmla="*/ 3170255 w 4323303"/>
              <a:gd name="connsiteY32" fmla="*/ 1813727 h 1881554"/>
              <a:gd name="connsiteX33" fmla="*/ 3114989 w 4323303"/>
              <a:gd name="connsiteY33" fmla="*/ 1833824 h 1881554"/>
              <a:gd name="connsiteX34" fmla="*/ 3082332 w 4323303"/>
              <a:gd name="connsiteY34" fmla="*/ 1836336 h 1881554"/>
              <a:gd name="connsiteX35" fmla="*/ 3034602 w 4323303"/>
              <a:gd name="connsiteY35" fmla="*/ 1838848 h 1881554"/>
              <a:gd name="connsiteX36" fmla="*/ 2969288 w 4323303"/>
              <a:gd name="connsiteY36" fmla="*/ 1848897 h 1881554"/>
              <a:gd name="connsiteX37" fmla="*/ 2268415 w 4323303"/>
              <a:gd name="connsiteY37" fmla="*/ 1806191 h 1881554"/>
              <a:gd name="connsiteX38" fmla="*/ 1926771 w 4323303"/>
              <a:gd name="connsiteY38" fmla="*/ 1803679 h 1881554"/>
              <a:gd name="connsiteX39" fmla="*/ 1728316 w 4323303"/>
              <a:gd name="connsiteY39" fmla="*/ 1806191 h 1881554"/>
              <a:gd name="connsiteX40" fmla="*/ 1220875 w 4323303"/>
              <a:gd name="connsiteY40" fmla="*/ 1874017 h 1881554"/>
              <a:gd name="connsiteX41" fmla="*/ 1040004 w 4323303"/>
              <a:gd name="connsiteY41" fmla="*/ 1881554 h 1881554"/>
              <a:gd name="connsiteX42" fmla="*/ 0 w 4323303"/>
              <a:gd name="connsiteY42" fmla="*/ 1755949 h 1881554"/>
              <a:gd name="connsiteX0" fmla="*/ 0 w 4323303"/>
              <a:gd name="connsiteY0" fmla="*/ 1755949 h 1881554"/>
              <a:gd name="connsiteX1" fmla="*/ 509954 w 4323303"/>
              <a:gd name="connsiteY1" fmla="*/ 1489668 h 1881554"/>
              <a:gd name="connsiteX2" fmla="*/ 628022 w 4323303"/>
              <a:gd name="connsiteY2" fmla="*/ 1494692 h 1881554"/>
              <a:gd name="connsiteX3" fmla="*/ 1399233 w 4323303"/>
              <a:gd name="connsiteY3" fmla="*/ 1283677 h 1881554"/>
              <a:gd name="connsiteX4" fmla="*/ 1695659 w 4323303"/>
              <a:gd name="connsiteY4" fmla="*/ 1183193 h 1881554"/>
              <a:gd name="connsiteX5" fmla="*/ 1798655 w 4323303"/>
              <a:gd name="connsiteY5" fmla="*/ 1112855 h 1881554"/>
              <a:gd name="connsiteX6" fmla="*/ 1838848 w 4323303"/>
              <a:gd name="connsiteY6" fmla="*/ 1080198 h 1881554"/>
              <a:gd name="connsiteX7" fmla="*/ 1871505 w 4323303"/>
              <a:gd name="connsiteY7" fmla="*/ 949569 h 1881554"/>
              <a:gd name="connsiteX8" fmla="*/ 1360139 w 4323303"/>
              <a:gd name="connsiteY8" fmla="*/ 569642 h 1881554"/>
              <a:gd name="connsiteX9" fmla="*/ 1887913 w 4323303"/>
              <a:gd name="connsiteY9" fmla="*/ 166112 h 1881554"/>
              <a:gd name="connsiteX10" fmla="*/ 2265903 w 4323303"/>
              <a:gd name="connsiteY10" fmla="*/ 0 h 1881554"/>
              <a:gd name="connsiteX11" fmla="*/ 2836147 w 4323303"/>
              <a:gd name="connsiteY11" fmla="*/ 40193 h 1881554"/>
              <a:gd name="connsiteX12" fmla="*/ 3001945 w 4323303"/>
              <a:gd name="connsiteY12" fmla="*/ 77875 h 1881554"/>
              <a:gd name="connsiteX13" fmla="*/ 3715378 w 4323303"/>
              <a:gd name="connsiteY13" fmla="*/ 160773 h 1881554"/>
              <a:gd name="connsiteX14" fmla="*/ 4016829 w 4323303"/>
              <a:gd name="connsiteY14" fmla="*/ 228600 h 1881554"/>
              <a:gd name="connsiteX15" fmla="*/ 4227844 w 4323303"/>
              <a:gd name="connsiteY15" fmla="*/ 288890 h 1881554"/>
              <a:gd name="connsiteX16" fmla="*/ 4255477 w 4323303"/>
              <a:gd name="connsiteY16" fmla="*/ 396910 h 1881554"/>
              <a:gd name="connsiteX17" fmla="*/ 4290646 w 4323303"/>
              <a:gd name="connsiteY17" fmla="*/ 605413 h 1881554"/>
              <a:gd name="connsiteX18" fmla="*/ 4182626 w 4323303"/>
              <a:gd name="connsiteY18" fmla="*/ 823965 h 1881554"/>
              <a:gd name="connsiteX19" fmla="*/ 4263013 w 4323303"/>
              <a:gd name="connsiteY19" fmla="*/ 1137976 h 1881554"/>
              <a:gd name="connsiteX20" fmla="*/ 4313255 w 4323303"/>
              <a:gd name="connsiteY20" fmla="*/ 1198266 h 1881554"/>
              <a:gd name="connsiteX21" fmla="*/ 4323303 w 4323303"/>
              <a:gd name="connsiteY21" fmla="*/ 1261068 h 1881554"/>
              <a:gd name="connsiteX22" fmla="*/ 4303207 w 4323303"/>
              <a:gd name="connsiteY22" fmla="*/ 1293725 h 1881554"/>
              <a:gd name="connsiteX23" fmla="*/ 4263013 w 4323303"/>
              <a:gd name="connsiteY23" fmla="*/ 1311310 h 1881554"/>
              <a:gd name="connsiteX24" fmla="*/ 3652576 w 4323303"/>
              <a:gd name="connsiteY24" fmla="*/ 1502228 h 1881554"/>
              <a:gd name="connsiteX25" fmla="*/ 3569677 w 4323303"/>
              <a:gd name="connsiteY25" fmla="*/ 1615272 h 1881554"/>
              <a:gd name="connsiteX26" fmla="*/ 3509387 w 4323303"/>
              <a:gd name="connsiteY26" fmla="*/ 1645417 h 1881554"/>
              <a:gd name="connsiteX27" fmla="*/ 3431512 w 4323303"/>
              <a:gd name="connsiteY27" fmla="*/ 1668026 h 1881554"/>
              <a:gd name="connsiteX28" fmla="*/ 3391319 w 4323303"/>
              <a:gd name="connsiteY28" fmla="*/ 1673050 h 1881554"/>
              <a:gd name="connsiteX29" fmla="*/ 3268226 w 4323303"/>
              <a:gd name="connsiteY29" fmla="*/ 1735853 h 1881554"/>
              <a:gd name="connsiteX30" fmla="*/ 3240593 w 4323303"/>
              <a:gd name="connsiteY30" fmla="*/ 1760973 h 1881554"/>
              <a:gd name="connsiteX31" fmla="*/ 3202912 w 4323303"/>
              <a:gd name="connsiteY31" fmla="*/ 1796143 h 1881554"/>
              <a:gd name="connsiteX32" fmla="*/ 3170255 w 4323303"/>
              <a:gd name="connsiteY32" fmla="*/ 1813727 h 1881554"/>
              <a:gd name="connsiteX33" fmla="*/ 3114989 w 4323303"/>
              <a:gd name="connsiteY33" fmla="*/ 1833824 h 1881554"/>
              <a:gd name="connsiteX34" fmla="*/ 3082332 w 4323303"/>
              <a:gd name="connsiteY34" fmla="*/ 1836336 h 1881554"/>
              <a:gd name="connsiteX35" fmla="*/ 3034602 w 4323303"/>
              <a:gd name="connsiteY35" fmla="*/ 1838848 h 1881554"/>
              <a:gd name="connsiteX36" fmla="*/ 2969288 w 4323303"/>
              <a:gd name="connsiteY36" fmla="*/ 1848897 h 1881554"/>
              <a:gd name="connsiteX37" fmla="*/ 2268415 w 4323303"/>
              <a:gd name="connsiteY37" fmla="*/ 1806191 h 1881554"/>
              <a:gd name="connsiteX38" fmla="*/ 1926771 w 4323303"/>
              <a:gd name="connsiteY38" fmla="*/ 1803679 h 1881554"/>
              <a:gd name="connsiteX39" fmla="*/ 1728316 w 4323303"/>
              <a:gd name="connsiteY39" fmla="*/ 1806191 h 1881554"/>
              <a:gd name="connsiteX40" fmla="*/ 1220875 w 4323303"/>
              <a:gd name="connsiteY40" fmla="*/ 1874017 h 1881554"/>
              <a:gd name="connsiteX41" fmla="*/ 1040004 w 4323303"/>
              <a:gd name="connsiteY41" fmla="*/ 1881554 h 1881554"/>
              <a:gd name="connsiteX42" fmla="*/ 0 w 4323303"/>
              <a:gd name="connsiteY42" fmla="*/ 1755949 h 1881554"/>
              <a:gd name="connsiteX0" fmla="*/ 0 w 4323303"/>
              <a:gd name="connsiteY0" fmla="*/ 1755949 h 1881554"/>
              <a:gd name="connsiteX1" fmla="*/ 509954 w 4323303"/>
              <a:gd name="connsiteY1" fmla="*/ 1489668 h 1881554"/>
              <a:gd name="connsiteX2" fmla="*/ 628022 w 4323303"/>
              <a:gd name="connsiteY2" fmla="*/ 1494692 h 1881554"/>
              <a:gd name="connsiteX3" fmla="*/ 1399233 w 4323303"/>
              <a:gd name="connsiteY3" fmla="*/ 1283677 h 1881554"/>
              <a:gd name="connsiteX4" fmla="*/ 1695659 w 4323303"/>
              <a:gd name="connsiteY4" fmla="*/ 1183193 h 1881554"/>
              <a:gd name="connsiteX5" fmla="*/ 1798655 w 4323303"/>
              <a:gd name="connsiteY5" fmla="*/ 1112855 h 1881554"/>
              <a:gd name="connsiteX6" fmla="*/ 1838848 w 4323303"/>
              <a:gd name="connsiteY6" fmla="*/ 1080198 h 1881554"/>
              <a:gd name="connsiteX7" fmla="*/ 1871505 w 4323303"/>
              <a:gd name="connsiteY7" fmla="*/ 949569 h 1881554"/>
              <a:gd name="connsiteX8" fmla="*/ 1360139 w 4323303"/>
              <a:gd name="connsiteY8" fmla="*/ 569642 h 1881554"/>
              <a:gd name="connsiteX9" fmla="*/ 2265903 w 4323303"/>
              <a:gd name="connsiteY9" fmla="*/ 0 h 1881554"/>
              <a:gd name="connsiteX10" fmla="*/ 2836147 w 4323303"/>
              <a:gd name="connsiteY10" fmla="*/ 40193 h 1881554"/>
              <a:gd name="connsiteX11" fmla="*/ 3001945 w 4323303"/>
              <a:gd name="connsiteY11" fmla="*/ 77875 h 1881554"/>
              <a:gd name="connsiteX12" fmla="*/ 3715378 w 4323303"/>
              <a:gd name="connsiteY12" fmla="*/ 160773 h 1881554"/>
              <a:gd name="connsiteX13" fmla="*/ 4016829 w 4323303"/>
              <a:gd name="connsiteY13" fmla="*/ 228600 h 1881554"/>
              <a:gd name="connsiteX14" fmla="*/ 4227844 w 4323303"/>
              <a:gd name="connsiteY14" fmla="*/ 288890 h 1881554"/>
              <a:gd name="connsiteX15" fmla="*/ 4255477 w 4323303"/>
              <a:gd name="connsiteY15" fmla="*/ 396910 h 1881554"/>
              <a:gd name="connsiteX16" fmla="*/ 4290646 w 4323303"/>
              <a:gd name="connsiteY16" fmla="*/ 605413 h 1881554"/>
              <a:gd name="connsiteX17" fmla="*/ 4182626 w 4323303"/>
              <a:gd name="connsiteY17" fmla="*/ 823965 h 1881554"/>
              <a:gd name="connsiteX18" fmla="*/ 4263013 w 4323303"/>
              <a:gd name="connsiteY18" fmla="*/ 1137976 h 1881554"/>
              <a:gd name="connsiteX19" fmla="*/ 4313255 w 4323303"/>
              <a:gd name="connsiteY19" fmla="*/ 1198266 h 1881554"/>
              <a:gd name="connsiteX20" fmla="*/ 4323303 w 4323303"/>
              <a:gd name="connsiteY20" fmla="*/ 1261068 h 1881554"/>
              <a:gd name="connsiteX21" fmla="*/ 4303207 w 4323303"/>
              <a:gd name="connsiteY21" fmla="*/ 1293725 h 1881554"/>
              <a:gd name="connsiteX22" fmla="*/ 4263013 w 4323303"/>
              <a:gd name="connsiteY22" fmla="*/ 1311310 h 1881554"/>
              <a:gd name="connsiteX23" fmla="*/ 3652576 w 4323303"/>
              <a:gd name="connsiteY23" fmla="*/ 1502228 h 1881554"/>
              <a:gd name="connsiteX24" fmla="*/ 3569677 w 4323303"/>
              <a:gd name="connsiteY24" fmla="*/ 1615272 h 1881554"/>
              <a:gd name="connsiteX25" fmla="*/ 3509387 w 4323303"/>
              <a:gd name="connsiteY25" fmla="*/ 1645417 h 1881554"/>
              <a:gd name="connsiteX26" fmla="*/ 3431512 w 4323303"/>
              <a:gd name="connsiteY26" fmla="*/ 1668026 h 1881554"/>
              <a:gd name="connsiteX27" fmla="*/ 3391319 w 4323303"/>
              <a:gd name="connsiteY27" fmla="*/ 1673050 h 1881554"/>
              <a:gd name="connsiteX28" fmla="*/ 3268226 w 4323303"/>
              <a:gd name="connsiteY28" fmla="*/ 1735853 h 1881554"/>
              <a:gd name="connsiteX29" fmla="*/ 3240593 w 4323303"/>
              <a:gd name="connsiteY29" fmla="*/ 1760973 h 1881554"/>
              <a:gd name="connsiteX30" fmla="*/ 3202912 w 4323303"/>
              <a:gd name="connsiteY30" fmla="*/ 1796143 h 1881554"/>
              <a:gd name="connsiteX31" fmla="*/ 3170255 w 4323303"/>
              <a:gd name="connsiteY31" fmla="*/ 1813727 h 1881554"/>
              <a:gd name="connsiteX32" fmla="*/ 3114989 w 4323303"/>
              <a:gd name="connsiteY32" fmla="*/ 1833824 h 1881554"/>
              <a:gd name="connsiteX33" fmla="*/ 3082332 w 4323303"/>
              <a:gd name="connsiteY33" fmla="*/ 1836336 h 1881554"/>
              <a:gd name="connsiteX34" fmla="*/ 3034602 w 4323303"/>
              <a:gd name="connsiteY34" fmla="*/ 1838848 h 1881554"/>
              <a:gd name="connsiteX35" fmla="*/ 2969288 w 4323303"/>
              <a:gd name="connsiteY35" fmla="*/ 1848897 h 1881554"/>
              <a:gd name="connsiteX36" fmla="*/ 2268415 w 4323303"/>
              <a:gd name="connsiteY36" fmla="*/ 1806191 h 1881554"/>
              <a:gd name="connsiteX37" fmla="*/ 1926771 w 4323303"/>
              <a:gd name="connsiteY37" fmla="*/ 1803679 h 1881554"/>
              <a:gd name="connsiteX38" fmla="*/ 1728316 w 4323303"/>
              <a:gd name="connsiteY38" fmla="*/ 1806191 h 1881554"/>
              <a:gd name="connsiteX39" fmla="*/ 1220875 w 4323303"/>
              <a:gd name="connsiteY39" fmla="*/ 1874017 h 1881554"/>
              <a:gd name="connsiteX40" fmla="*/ 1040004 w 4323303"/>
              <a:gd name="connsiteY40" fmla="*/ 1881554 h 1881554"/>
              <a:gd name="connsiteX41" fmla="*/ 0 w 4323303"/>
              <a:gd name="connsiteY41" fmla="*/ 1755949 h 1881554"/>
              <a:gd name="connsiteX0" fmla="*/ 0 w 4323303"/>
              <a:gd name="connsiteY0" fmla="*/ 1765474 h 1891079"/>
              <a:gd name="connsiteX1" fmla="*/ 509954 w 4323303"/>
              <a:gd name="connsiteY1" fmla="*/ 1499193 h 1891079"/>
              <a:gd name="connsiteX2" fmla="*/ 628022 w 4323303"/>
              <a:gd name="connsiteY2" fmla="*/ 1504217 h 1891079"/>
              <a:gd name="connsiteX3" fmla="*/ 1399233 w 4323303"/>
              <a:gd name="connsiteY3" fmla="*/ 1293202 h 1891079"/>
              <a:gd name="connsiteX4" fmla="*/ 1695659 w 4323303"/>
              <a:gd name="connsiteY4" fmla="*/ 1192718 h 1891079"/>
              <a:gd name="connsiteX5" fmla="*/ 1798655 w 4323303"/>
              <a:gd name="connsiteY5" fmla="*/ 1122380 h 1891079"/>
              <a:gd name="connsiteX6" fmla="*/ 1838848 w 4323303"/>
              <a:gd name="connsiteY6" fmla="*/ 1089723 h 1891079"/>
              <a:gd name="connsiteX7" fmla="*/ 1871505 w 4323303"/>
              <a:gd name="connsiteY7" fmla="*/ 959094 h 1891079"/>
              <a:gd name="connsiteX8" fmla="*/ 1360139 w 4323303"/>
              <a:gd name="connsiteY8" fmla="*/ 579167 h 1891079"/>
              <a:gd name="connsiteX9" fmla="*/ 2103978 w 4323303"/>
              <a:gd name="connsiteY9" fmla="*/ 0 h 1891079"/>
              <a:gd name="connsiteX10" fmla="*/ 2836147 w 4323303"/>
              <a:gd name="connsiteY10" fmla="*/ 49718 h 1891079"/>
              <a:gd name="connsiteX11" fmla="*/ 3001945 w 4323303"/>
              <a:gd name="connsiteY11" fmla="*/ 87400 h 1891079"/>
              <a:gd name="connsiteX12" fmla="*/ 3715378 w 4323303"/>
              <a:gd name="connsiteY12" fmla="*/ 170298 h 1891079"/>
              <a:gd name="connsiteX13" fmla="*/ 4016829 w 4323303"/>
              <a:gd name="connsiteY13" fmla="*/ 238125 h 1891079"/>
              <a:gd name="connsiteX14" fmla="*/ 4227844 w 4323303"/>
              <a:gd name="connsiteY14" fmla="*/ 298415 h 1891079"/>
              <a:gd name="connsiteX15" fmla="*/ 4255477 w 4323303"/>
              <a:gd name="connsiteY15" fmla="*/ 406435 h 1891079"/>
              <a:gd name="connsiteX16" fmla="*/ 4290646 w 4323303"/>
              <a:gd name="connsiteY16" fmla="*/ 614938 h 1891079"/>
              <a:gd name="connsiteX17" fmla="*/ 4182626 w 4323303"/>
              <a:gd name="connsiteY17" fmla="*/ 833490 h 1891079"/>
              <a:gd name="connsiteX18" fmla="*/ 4263013 w 4323303"/>
              <a:gd name="connsiteY18" fmla="*/ 1147501 h 1891079"/>
              <a:gd name="connsiteX19" fmla="*/ 4313255 w 4323303"/>
              <a:gd name="connsiteY19" fmla="*/ 1207791 h 1891079"/>
              <a:gd name="connsiteX20" fmla="*/ 4323303 w 4323303"/>
              <a:gd name="connsiteY20" fmla="*/ 1270593 h 1891079"/>
              <a:gd name="connsiteX21" fmla="*/ 4303207 w 4323303"/>
              <a:gd name="connsiteY21" fmla="*/ 1303250 h 1891079"/>
              <a:gd name="connsiteX22" fmla="*/ 4263013 w 4323303"/>
              <a:gd name="connsiteY22" fmla="*/ 1320835 h 1891079"/>
              <a:gd name="connsiteX23" fmla="*/ 3652576 w 4323303"/>
              <a:gd name="connsiteY23" fmla="*/ 1511753 h 1891079"/>
              <a:gd name="connsiteX24" fmla="*/ 3569677 w 4323303"/>
              <a:gd name="connsiteY24" fmla="*/ 1624797 h 1891079"/>
              <a:gd name="connsiteX25" fmla="*/ 3509387 w 4323303"/>
              <a:gd name="connsiteY25" fmla="*/ 1654942 h 1891079"/>
              <a:gd name="connsiteX26" fmla="*/ 3431512 w 4323303"/>
              <a:gd name="connsiteY26" fmla="*/ 1677551 h 1891079"/>
              <a:gd name="connsiteX27" fmla="*/ 3391319 w 4323303"/>
              <a:gd name="connsiteY27" fmla="*/ 1682575 h 1891079"/>
              <a:gd name="connsiteX28" fmla="*/ 3268226 w 4323303"/>
              <a:gd name="connsiteY28" fmla="*/ 1745378 h 1891079"/>
              <a:gd name="connsiteX29" fmla="*/ 3240593 w 4323303"/>
              <a:gd name="connsiteY29" fmla="*/ 1770498 h 1891079"/>
              <a:gd name="connsiteX30" fmla="*/ 3202912 w 4323303"/>
              <a:gd name="connsiteY30" fmla="*/ 1805668 h 1891079"/>
              <a:gd name="connsiteX31" fmla="*/ 3170255 w 4323303"/>
              <a:gd name="connsiteY31" fmla="*/ 1823252 h 1891079"/>
              <a:gd name="connsiteX32" fmla="*/ 3114989 w 4323303"/>
              <a:gd name="connsiteY32" fmla="*/ 1843349 h 1891079"/>
              <a:gd name="connsiteX33" fmla="*/ 3082332 w 4323303"/>
              <a:gd name="connsiteY33" fmla="*/ 1845861 h 1891079"/>
              <a:gd name="connsiteX34" fmla="*/ 3034602 w 4323303"/>
              <a:gd name="connsiteY34" fmla="*/ 1848373 h 1891079"/>
              <a:gd name="connsiteX35" fmla="*/ 2969288 w 4323303"/>
              <a:gd name="connsiteY35" fmla="*/ 1858422 h 1891079"/>
              <a:gd name="connsiteX36" fmla="*/ 2268415 w 4323303"/>
              <a:gd name="connsiteY36" fmla="*/ 1815716 h 1891079"/>
              <a:gd name="connsiteX37" fmla="*/ 1926771 w 4323303"/>
              <a:gd name="connsiteY37" fmla="*/ 1813204 h 1891079"/>
              <a:gd name="connsiteX38" fmla="*/ 1728316 w 4323303"/>
              <a:gd name="connsiteY38" fmla="*/ 1815716 h 1891079"/>
              <a:gd name="connsiteX39" fmla="*/ 1220875 w 4323303"/>
              <a:gd name="connsiteY39" fmla="*/ 1883542 h 1891079"/>
              <a:gd name="connsiteX40" fmla="*/ 1040004 w 4323303"/>
              <a:gd name="connsiteY40" fmla="*/ 1891079 h 1891079"/>
              <a:gd name="connsiteX41" fmla="*/ 0 w 4323303"/>
              <a:gd name="connsiteY41" fmla="*/ 1765474 h 189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23303" h="1891079">
                <a:moveTo>
                  <a:pt x="0" y="1765474"/>
                </a:moveTo>
                <a:lnTo>
                  <a:pt x="509954" y="1499193"/>
                </a:lnTo>
                <a:lnTo>
                  <a:pt x="628022" y="1504217"/>
                </a:lnTo>
                <a:lnTo>
                  <a:pt x="1399233" y="1293202"/>
                </a:lnTo>
                <a:lnTo>
                  <a:pt x="1695659" y="1192718"/>
                </a:lnTo>
                <a:lnTo>
                  <a:pt x="1798655" y="1122380"/>
                </a:lnTo>
                <a:lnTo>
                  <a:pt x="1838848" y="1089723"/>
                </a:lnTo>
                <a:lnTo>
                  <a:pt x="1871505" y="959094"/>
                </a:lnTo>
                <a:lnTo>
                  <a:pt x="1360139" y="579167"/>
                </a:lnTo>
                <a:lnTo>
                  <a:pt x="2103978" y="0"/>
                </a:lnTo>
                <a:lnTo>
                  <a:pt x="2836147" y="49718"/>
                </a:lnTo>
                <a:lnTo>
                  <a:pt x="3001945" y="87400"/>
                </a:lnTo>
                <a:lnTo>
                  <a:pt x="3715378" y="170298"/>
                </a:lnTo>
                <a:lnTo>
                  <a:pt x="4016829" y="238125"/>
                </a:lnTo>
                <a:lnTo>
                  <a:pt x="4227844" y="298415"/>
                </a:lnTo>
                <a:lnTo>
                  <a:pt x="4255477" y="406435"/>
                </a:lnTo>
                <a:lnTo>
                  <a:pt x="4290646" y="614938"/>
                </a:lnTo>
                <a:lnTo>
                  <a:pt x="4182626" y="833490"/>
                </a:lnTo>
                <a:lnTo>
                  <a:pt x="4263013" y="1147501"/>
                </a:lnTo>
                <a:lnTo>
                  <a:pt x="4313255" y="1207791"/>
                </a:lnTo>
                <a:lnTo>
                  <a:pt x="4323303" y="1270593"/>
                </a:lnTo>
                <a:lnTo>
                  <a:pt x="4303207" y="1303250"/>
                </a:lnTo>
                <a:lnTo>
                  <a:pt x="4263013" y="1320835"/>
                </a:lnTo>
                <a:lnTo>
                  <a:pt x="3652576" y="1511753"/>
                </a:lnTo>
                <a:lnTo>
                  <a:pt x="3569677" y="1624797"/>
                </a:lnTo>
                <a:lnTo>
                  <a:pt x="3509387" y="1654942"/>
                </a:lnTo>
                <a:lnTo>
                  <a:pt x="3431512" y="1677551"/>
                </a:lnTo>
                <a:lnTo>
                  <a:pt x="3391319" y="1682575"/>
                </a:lnTo>
                <a:lnTo>
                  <a:pt x="3268226" y="1745378"/>
                </a:lnTo>
                <a:lnTo>
                  <a:pt x="3240593" y="1770498"/>
                </a:lnTo>
                <a:lnTo>
                  <a:pt x="3202912" y="1805668"/>
                </a:lnTo>
                <a:lnTo>
                  <a:pt x="3170255" y="1823252"/>
                </a:lnTo>
                <a:lnTo>
                  <a:pt x="3114989" y="1843349"/>
                </a:lnTo>
                <a:lnTo>
                  <a:pt x="3082332" y="1845861"/>
                </a:lnTo>
                <a:lnTo>
                  <a:pt x="3034602" y="1848373"/>
                </a:lnTo>
                <a:lnTo>
                  <a:pt x="2969288" y="1858422"/>
                </a:lnTo>
                <a:lnTo>
                  <a:pt x="2268415" y="1815716"/>
                </a:lnTo>
                <a:lnTo>
                  <a:pt x="1926771" y="1813204"/>
                </a:lnTo>
                <a:lnTo>
                  <a:pt x="1728316" y="1815716"/>
                </a:lnTo>
                <a:lnTo>
                  <a:pt x="1220875" y="1883542"/>
                </a:lnTo>
                <a:lnTo>
                  <a:pt x="1040004" y="1891079"/>
                </a:lnTo>
                <a:lnTo>
                  <a:pt x="0" y="1765474"/>
                </a:lnTo>
                <a:close/>
              </a:path>
            </a:pathLst>
          </a:cu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0"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1F053D54-D116-6A1A-2B20-7FF685976F0A}"/>
              </a:ext>
            </a:extLst>
          </p:cNvPr>
          <p:cNvSpPr>
            <a:spLocks/>
          </p:cNvSpPr>
          <p:nvPr/>
        </p:nvSpPr>
        <p:spPr>
          <a:xfrm>
            <a:off x="4374833" y="1595438"/>
            <a:ext cx="4978718" cy="1328737"/>
          </a:xfrm>
          <a:custGeom>
            <a:avLst/>
            <a:gdLst>
              <a:gd name="connsiteX0" fmla="*/ 4171950 w 4733925"/>
              <a:gd name="connsiteY0" fmla="*/ 862012 h 1143000"/>
              <a:gd name="connsiteX1" fmla="*/ 4733925 w 4733925"/>
              <a:gd name="connsiteY1" fmla="*/ 366712 h 1143000"/>
              <a:gd name="connsiteX2" fmla="*/ 3590925 w 4733925"/>
              <a:gd name="connsiteY2" fmla="*/ 114300 h 1143000"/>
              <a:gd name="connsiteX3" fmla="*/ 1604963 w 4733925"/>
              <a:gd name="connsiteY3" fmla="*/ 0 h 1143000"/>
              <a:gd name="connsiteX4" fmla="*/ 0 w 4733925"/>
              <a:gd name="connsiteY4" fmla="*/ 261937 h 1143000"/>
              <a:gd name="connsiteX5" fmla="*/ 2843213 w 4733925"/>
              <a:gd name="connsiteY5" fmla="*/ 1143000 h 1143000"/>
              <a:gd name="connsiteX6" fmla="*/ 4171950 w 4733925"/>
              <a:gd name="connsiteY6" fmla="*/ 862012 h 1143000"/>
              <a:gd name="connsiteX0" fmla="*/ 4171950 w 4733925"/>
              <a:gd name="connsiteY0" fmla="*/ 862012 h 1143000"/>
              <a:gd name="connsiteX1" fmla="*/ 4733925 w 4733925"/>
              <a:gd name="connsiteY1" fmla="*/ 366712 h 1143000"/>
              <a:gd name="connsiteX2" fmla="*/ 3590925 w 4733925"/>
              <a:gd name="connsiteY2" fmla="*/ 114300 h 1143000"/>
              <a:gd name="connsiteX3" fmla="*/ 1604963 w 4733925"/>
              <a:gd name="connsiteY3" fmla="*/ 0 h 1143000"/>
              <a:gd name="connsiteX4" fmla="*/ 0 w 4733925"/>
              <a:gd name="connsiteY4" fmla="*/ 261937 h 1143000"/>
              <a:gd name="connsiteX5" fmla="*/ 1700213 w 4733925"/>
              <a:gd name="connsiteY5" fmla="*/ 790575 h 1143000"/>
              <a:gd name="connsiteX6" fmla="*/ 2843213 w 4733925"/>
              <a:gd name="connsiteY6" fmla="*/ 1143000 h 1143000"/>
              <a:gd name="connsiteX7" fmla="*/ 4171950 w 4733925"/>
              <a:gd name="connsiteY7" fmla="*/ 862012 h 1143000"/>
              <a:gd name="connsiteX0" fmla="*/ 4171950 w 4733925"/>
              <a:gd name="connsiteY0" fmla="*/ 862012 h 1143000"/>
              <a:gd name="connsiteX1" fmla="*/ 4733925 w 4733925"/>
              <a:gd name="connsiteY1" fmla="*/ 366712 h 1143000"/>
              <a:gd name="connsiteX2" fmla="*/ 3590925 w 4733925"/>
              <a:gd name="connsiteY2" fmla="*/ 114300 h 1143000"/>
              <a:gd name="connsiteX3" fmla="*/ 1604963 w 4733925"/>
              <a:gd name="connsiteY3" fmla="*/ 0 h 1143000"/>
              <a:gd name="connsiteX4" fmla="*/ 0 w 4733925"/>
              <a:gd name="connsiteY4" fmla="*/ 261937 h 1143000"/>
              <a:gd name="connsiteX5" fmla="*/ 1352550 w 4733925"/>
              <a:gd name="connsiteY5" fmla="*/ 1090613 h 1143000"/>
              <a:gd name="connsiteX6" fmla="*/ 2843213 w 4733925"/>
              <a:gd name="connsiteY6" fmla="*/ 1143000 h 1143000"/>
              <a:gd name="connsiteX7" fmla="*/ 4171950 w 4733925"/>
              <a:gd name="connsiteY7" fmla="*/ 862012 h 1143000"/>
              <a:gd name="connsiteX0" fmla="*/ 4171950 w 4733925"/>
              <a:gd name="connsiteY0" fmla="*/ 862012 h 1143000"/>
              <a:gd name="connsiteX1" fmla="*/ 4733925 w 4733925"/>
              <a:gd name="connsiteY1" fmla="*/ 366712 h 1143000"/>
              <a:gd name="connsiteX2" fmla="*/ 3590925 w 4733925"/>
              <a:gd name="connsiteY2" fmla="*/ 114300 h 1143000"/>
              <a:gd name="connsiteX3" fmla="*/ 1604963 w 4733925"/>
              <a:gd name="connsiteY3" fmla="*/ 0 h 1143000"/>
              <a:gd name="connsiteX4" fmla="*/ 0 w 4733925"/>
              <a:gd name="connsiteY4" fmla="*/ 261937 h 1143000"/>
              <a:gd name="connsiteX5" fmla="*/ 1352550 w 4733925"/>
              <a:gd name="connsiteY5" fmla="*/ 1090613 h 1143000"/>
              <a:gd name="connsiteX6" fmla="*/ 1995488 w 4733925"/>
              <a:gd name="connsiteY6" fmla="*/ 895350 h 1143000"/>
              <a:gd name="connsiteX7" fmla="*/ 2843213 w 4733925"/>
              <a:gd name="connsiteY7" fmla="*/ 1143000 h 1143000"/>
              <a:gd name="connsiteX8" fmla="*/ 4171950 w 4733925"/>
              <a:gd name="connsiteY8" fmla="*/ 862012 h 1143000"/>
              <a:gd name="connsiteX0" fmla="*/ 3786188 w 4733925"/>
              <a:gd name="connsiteY0" fmla="*/ 1062037 h 1143000"/>
              <a:gd name="connsiteX1" fmla="*/ 4733925 w 4733925"/>
              <a:gd name="connsiteY1" fmla="*/ 366712 h 1143000"/>
              <a:gd name="connsiteX2" fmla="*/ 3590925 w 4733925"/>
              <a:gd name="connsiteY2" fmla="*/ 114300 h 1143000"/>
              <a:gd name="connsiteX3" fmla="*/ 1604963 w 4733925"/>
              <a:gd name="connsiteY3" fmla="*/ 0 h 1143000"/>
              <a:gd name="connsiteX4" fmla="*/ 0 w 4733925"/>
              <a:gd name="connsiteY4" fmla="*/ 261937 h 1143000"/>
              <a:gd name="connsiteX5" fmla="*/ 1352550 w 4733925"/>
              <a:gd name="connsiteY5" fmla="*/ 1090613 h 1143000"/>
              <a:gd name="connsiteX6" fmla="*/ 1995488 w 4733925"/>
              <a:gd name="connsiteY6" fmla="*/ 895350 h 1143000"/>
              <a:gd name="connsiteX7" fmla="*/ 2843213 w 4733925"/>
              <a:gd name="connsiteY7" fmla="*/ 1143000 h 1143000"/>
              <a:gd name="connsiteX8" fmla="*/ 3786188 w 4733925"/>
              <a:gd name="connsiteY8" fmla="*/ 1062037 h 1143000"/>
              <a:gd name="connsiteX0" fmla="*/ 3786188 w 4638675"/>
              <a:gd name="connsiteY0" fmla="*/ 1062037 h 1143000"/>
              <a:gd name="connsiteX1" fmla="*/ 4638675 w 4638675"/>
              <a:gd name="connsiteY1" fmla="*/ 366712 h 1143000"/>
              <a:gd name="connsiteX2" fmla="*/ 3590925 w 4638675"/>
              <a:gd name="connsiteY2" fmla="*/ 114300 h 1143000"/>
              <a:gd name="connsiteX3" fmla="*/ 1604963 w 4638675"/>
              <a:gd name="connsiteY3" fmla="*/ 0 h 1143000"/>
              <a:gd name="connsiteX4" fmla="*/ 0 w 4638675"/>
              <a:gd name="connsiteY4" fmla="*/ 261937 h 1143000"/>
              <a:gd name="connsiteX5" fmla="*/ 1352550 w 4638675"/>
              <a:gd name="connsiteY5" fmla="*/ 1090613 h 1143000"/>
              <a:gd name="connsiteX6" fmla="*/ 1995488 w 4638675"/>
              <a:gd name="connsiteY6" fmla="*/ 895350 h 1143000"/>
              <a:gd name="connsiteX7" fmla="*/ 2843213 w 4638675"/>
              <a:gd name="connsiteY7" fmla="*/ 1143000 h 1143000"/>
              <a:gd name="connsiteX8" fmla="*/ 3786188 w 4638675"/>
              <a:gd name="connsiteY8" fmla="*/ 1062037 h 1143000"/>
              <a:gd name="connsiteX0" fmla="*/ 3695701 w 4638675"/>
              <a:gd name="connsiteY0" fmla="*/ 1062037 h 1143000"/>
              <a:gd name="connsiteX1" fmla="*/ 4638675 w 4638675"/>
              <a:gd name="connsiteY1" fmla="*/ 366712 h 1143000"/>
              <a:gd name="connsiteX2" fmla="*/ 3590925 w 4638675"/>
              <a:gd name="connsiteY2" fmla="*/ 114300 h 1143000"/>
              <a:gd name="connsiteX3" fmla="*/ 1604963 w 4638675"/>
              <a:gd name="connsiteY3" fmla="*/ 0 h 1143000"/>
              <a:gd name="connsiteX4" fmla="*/ 0 w 4638675"/>
              <a:gd name="connsiteY4" fmla="*/ 261937 h 1143000"/>
              <a:gd name="connsiteX5" fmla="*/ 1352550 w 4638675"/>
              <a:gd name="connsiteY5" fmla="*/ 1090613 h 1143000"/>
              <a:gd name="connsiteX6" fmla="*/ 1995488 w 4638675"/>
              <a:gd name="connsiteY6" fmla="*/ 895350 h 1143000"/>
              <a:gd name="connsiteX7" fmla="*/ 2843213 w 4638675"/>
              <a:gd name="connsiteY7" fmla="*/ 1143000 h 1143000"/>
              <a:gd name="connsiteX8" fmla="*/ 3695701 w 4638675"/>
              <a:gd name="connsiteY8" fmla="*/ 1062037 h 1143000"/>
              <a:gd name="connsiteX0" fmla="*/ 3590926 w 4638675"/>
              <a:gd name="connsiteY0" fmla="*/ 1128712 h 1143000"/>
              <a:gd name="connsiteX1" fmla="*/ 4638675 w 4638675"/>
              <a:gd name="connsiteY1" fmla="*/ 366712 h 1143000"/>
              <a:gd name="connsiteX2" fmla="*/ 3590925 w 4638675"/>
              <a:gd name="connsiteY2" fmla="*/ 114300 h 1143000"/>
              <a:gd name="connsiteX3" fmla="*/ 1604963 w 4638675"/>
              <a:gd name="connsiteY3" fmla="*/ 0 h 1143000"/>
              <a:gd name="connsiteX4" fmla="*/ 0 w 4638675"/>
              <a:gd name="connsiteY4" fmla="*/ 261937 h 1143000"/>
              <a:gd name="connsiteX5" fmla="*/ 1352550 w 4638675"/>
              <a:gd name="connsiteY5" fmla="*/ 1090613 h 1143000"/>
              <a:gd name="connsiteX6" fmla="*/ 1995488 w 4638675"/>
              <a:gd name="connsiteY6" fmla="*/ 895350 h 1143000"/>
              <a:gd name="connsiteX7" fmla="*/ 2843213 w 4638675"/>
              <a:gd name="connsiteY7" fmla="*/ 1143000 h 1143000"/>
              <a:gd name="connsiteX8" fmla="*/ 3590926 w 4638675"/>
              <a:gd name="connsiteY8" fmla="*/ 1128712 h 1143000"/>
              <a:gd name="connsiteX0" fmla="*/ 3590926 w 4638675"/>
              <a:gd name="connsiteY0" fmla="*/ 1128712 h 1128712"/>
              <a:gd name="connsiteX1" fmla="*/ 4638675 w 4638675"/>
              <a:gd name="connsiteY1" fmla="*/ 366712 h 1128712"/>
              <a:gd name="connsiteX2" fmla="*/ 3590925 w 4638675"/>
              <a:gd name="connsiteY2" fmla="*/ 114300 h 1128712"/>
              <a:gd name="connsiteX3" fmla="*/ 1604963 w 4638675"/>
              <a:gd name="connsiteY3" fmla="*/ 0 h 1128712"/>
              <a:gd name="connsiteX4" fmla="*/ 0 w 4638675"/>
              <a:gd name="connsiteY4" fmla="*/ 261937 h 1128712"/>
              <a:gd name="connsiteX5" fmla="*/ 1352550 w 4638675"/>
              <a:gd name="connsiteY5" fmla="*/ 1090613 h 1128712"/>
              <a:gd name="connsiteX6" fmla="*/ 1995488 w 4638675"/>
              <a:gd name="connsiteY6" fmla="*/ 895350 h 1128712"/>
              <a:gd name="connsiteX7" fmla="*/ 2933700 w 4638675"/>
              <a:gd name="connsiteY7" fmla="*/ 1100138 h 1128712"/>
              <a:gd name="connsiteX8" fmla="*/ 3590926 w 4638675"/>
              <a:gd name="connsiteY8" fmla="*/ 1128712 h 1128712"/>
              <a:gd name="connsiteX0" fmla="*/ 3590926 w 4638675"/>
              <a:gd name="connsiteY0" fmla="*/ 1128712 h 1128712"/>
              <a:gd name="connsiteX1" fmla="*/ 4638675 w 4638675"/>
              <a:gd name="connsiteY1" fmla="*/ 366712 h 1128712"/>
              <a:gd name="connsiteX2" fmla="*/ 3590925 w 4638675"/>
              <a:gd name="connsiteY2" fmla="*/ 114300 h 1128712"/>
              <a:gd name="connsiteX3" fmla="*/ 1604963 w 4638675"/>
              <a:gd name="connsiteY3" fmla="*/ 0 h 1128712"/>
              <a:gd name="connsiteX4" fmla="*/ 0 w 4638675"/>
              <a:gd name="connsiteY4" fmla="*/ 261937 h 1128712"/>
              <a:gd name="connsiteX5" fmla="*/ 1352550 w 4638675"/>
              <a:gd name="connsiteY5" fmla="*/ 1090613 h 1128712"/>
              <a:gd name="connsiteX6" fmla="*/ 2124076 w 4638675"/>
              <a:gd name="connsiteY6" fmla="*/ 1023938 h 1128712"/>
              <a:gd name="connsiteX7" fmla="*/ 2933700 w 4638675"/>
              <a:gd name="connsiteY7" fmla="*/ 1100138 h 1128712"/>
              <a:gd name="connsiteX8" fmla="*/ 3590926 w 4638675"/>
              <a:gd name="connsiteY8" fmla="*/ 1128712 h 1128712"/>
              <a:gd name="connsiteX0" fmla="*/ 3590926 w 4638675"/>
              <a:gd name="connsiteY0" fmla="*/ 1128712 h 1128712"/>
              <a:gd name="connsiteX1" fmla="*/ 4638675 w 4638675"/>
              <a:gd name="connsiteY1" fmla="*/ 366712 h 1128712"/>
              <a:gd name="connsiteX2" fmla="*/ 3590925 w 4638675"/>
              <a:gd name="connsiteY2" fmla="*/ 114300 h 1128712"/>
              <a:gd name="connsiteX3" fmla="*/ 1604963 w 4638675"/>
              <a:gd name="connsiteY3" fmla="*/ 0 h 1128712"/>
              <a:gd name="connsiteX4" fmla="*/ 0 w 4638675"/>
              <a:gd name="connsiteY4" fmla="*/ 261937 h 1128712"/>
              <a:gd name="connsiteX5" fmla="*/ 1352550 w 4638675"/>
              <a:gd name="connsiteY5" fmla="*/ 1090613 h 1128712"/>
              <a:gd name="connsiteX6" fmla="*/ 2138363 w 4638675"/>
              <a:gd name="connsiteY6" fmla="*/ 1038225 h 1128712"/>
              <a:gd name="connsiteX7" fmla="*/ 2933700 w 4638675"/>
              <a:gd name="connsiteY7" fmla="*/ 1100138 h 1128712"/>
              <a:gd name="connsiteX8" fmla="*/ 3590926 w 4638675"/>
              <a:gd name="connsiteY8" fmla="*/ 1128712 h 1128712"/>
              <a:gd name="connsiteX0" fmla="*/ 3590926 w 4638675"/>
              <a:gd name="connsiteY0" fmla="*/ 1128712 h 1128712"/>
              <a:gd name="connsiteX1" fmla="*/ 4638675 w 4638675"/>
              <a:gd name="connsiteY1" fmla="*/ 366712 h 1128712"/>
              <a:gd name="connsiteX2" fmla="*/ 3590925 w 4638675"/>
              <a:gd name="connsiteY2" fmla="*/ 114300 h 1128712"/>
              <a:gd name="connsiteX3" fmla="*/ 1604963 w 4638675"/>
              <a:gd name="connsiteY3" fmla="*/ 0 h 1128712"/>
              <a:gd name="connsiteX4" fmla="*/ 0 w 4638675"/>
              <a:gd name="connsiteY4" fmla="*/ 261937 h 1128712"/>
              <a:gd name="connsiteX5" fmla="*/ 1552575 w 4638675"/>
              <a:gd name="connsiteY5" fmla="*/ 1123950 h 1128712"/>
              <a:gd name="connsiteX6" fmla="*/ 2138363 w 4638675"/>
              <a:gd name="connsiteY6" fmla="*/ 1038225 h 1128712"/>
              <a:gd name="connsiteX7" fmla="*/ 2933700 w 4638675"/>
              <a:gd name="connsiteY7" fmla="*/ 1100138 h 1128712"/>
              <a:gd name="connsiteX8" fmla="*/ 3590926 w 4638675"/>
              <a:gd name="connsiteY8" fmla="*/ 1128712 h 1128712"/>
              <a:gd name="connsiteX0" fmla="*/ 3590926 w 4638675"/>
              <a:gd name="connsiteY0" fmla="*/ 1128712 h 1128712"/>
              <a:gd name="connsiteX1" fmla="*/ 4638675 w 4638675"/>
              <a:gd name="connsiteY1" fmla="*/ 366712 h 1128712"/>
              <a:gd name="connsiteX2" fmla="*/ 3590925 w 4638675"/>
              <a:gd name="connsiteY2" fmla="*/ 114300 h 1128712"/>
              <a:gd name="connsiteX3" fmla="*/ 1604963 w 4638675"/>
              <a:gd name="connsiteY3" fmla="*/ 0 h 1128712"/>
              <a:gd name="connsiteX4" fmla="*/ 0 w 4638675"/>
              <a:gd name="connsiteY4" fmla="*/ 261937 h 1128712"/>
              <a:gd name="connsiteX5" fmla="*/ 900113 w 4638675"/>
              <a:gd name="connsiteY5" fmla="*/ 766762 h 1128712"/>
              <a:gd name="connsiteX6" fmla="*/ 1552575 w 4638675"/>
              <a:gd name="connsiteY6" fmla="*/ 1123950 h 1128712"/>
              <a:gd name="connsiteX7" fmla="*/ 2138363 w 4638675"/>
              <a:gd name="connsiteY7" fmla="*/ 1038225 h 1128712"/>
              <a:gd name="connsiteX8" fmla="*/ 2933700 w 4638675"/>
              <a:gd name="connsiteY8" fmla="*/ 1100138 h 1128712"/>
              <a:gd name="connsiteX9" fmla="*/ 3590926 w 4638675"/>
              <a:gd name="connsiteY9" fmla="*/ 1128712 h 1128712"/>
              <a:gd name="connsiteX0" fmla="*/ 3590926 w 4638675"/>
              <a:gd name="connsiteY0" fmla="*/ 1128712 h 1128712"/>
              <a:gd name="connsiteX1" fmla="*/ 4638675 w 4638675"/>
              <a:gd name="connsiteY1" fmla="*/ 366712 h 1128712"/>
              <a:gd name="connsiteX2" fmla="*/ 3590925 w 4638675"/>
              <a:gd name="connsiteY2" fmla="*/ 114300 h 1128712"/>
              <a:gd name="connsiteX3" fmla="*/ 1604963 w 4638675"/>
              <a:gd name="connsiteY3" fmla="*/ 0 h 1128712"/>
              <a:gd name="connsiteX4" fmla="*/ 0 w 4638675"/>
              <a:gd name="connsiteY4" fmla="*/ 261937 h 1128712"/>
              <a:gd name="connsiteX5" fmla="*/ 1190626 w 4638675"/>
              <a:gd name="connsiteY5" fmla="*/ 733424 h 1128712"/>
              <a:gd name="connsiteX6" fmla="*/ 1552575 w 4638675"/>
              <a:gd name="connsiteY6" fmla="*/ 1123950 h 1128712"/>
              <a:gd name="connsiteX7" fmla="*/ 2138363 w 4638675"/>
              <a:gd name="connsiteY7" fmla="*/ 1038225 h 1128712"/>
              <a:gd name="connsiteX8" fmla="*/ 2933700 w 4638675"/>
              <a:gd name="connsiteY8" fmla="*/ 1100138 h 1128712"/>
              <a:gd name="connsiteX9" fmla="*/ 3590926 w 4638675"/>
              <a:gd name="connsiteY9" fmla="*/ 1128712 h 1128712"/>
              <a:gd name="connsiteX0" fmla="*/ 3590926 w 4638675"/>
              <a:gd name="connsiteY0" fmla="*/ 1128712 h 1128712"/>
              <a:gd name="connsiteX1" fmla="*/ 4638675 w 4638675"/>
              <a:gd name="connsiteY1" fmla="*/ 366712 h 1128712"/>
              <a:gd name="connsiteX2" fmla="*/ 3590925 w 4638675"/>
              <a:gd name="connsiteY2" fmla="*/ 114300 h 1128712"/>
              <a:gd name="connsiteX3" fmla="*/ 1604963 w 4638675"/>
              <a:gd name="connsiteY3" fmla="*/ 0 h 1128712"/>
              <a:gd name="connsiteX4" fmla="*/ 0 w 4638675"/>
              <a:gd name="connsiteY4" fmla="*/ 261937 h 1128712"/>
              <a:gd name="connsiteX5" fmla="*/ 1085851 w 4638675"/>
              <a:gd name="connsiteY5" fmla="*/ 542924 h 1128712"/>
              <a:gd name="connsiteX6" fmla="*/ 1552575 w 4638675"/>
              <a:gd name="connsiteY6" fmla="*/ 1123950 h 1128712"/>
              <a:gd name="connsiteX7" fmla="*/ 2138363 w 4638675"/>
              <a:gd name="connsiteY7" fmla="*/ 1038225 h 1128712"/>
              <a:gd name="connsiteX8" fmla="*/ 2933700 w 4638675"/>
              <a:gd name="connsiteY8" fmla="*/ 1100138 h 1128712"/>
              <a:gd name="connsiteX9" fmla="*/ 3590926 w 4638675"/>
              <a:gd name="connsiteY9" fmla="*/ 1128712 h 1128712"/>
              <a:gd name="connsiteX0" fmla="*/ 3590926 w 4638675"/>
              <a:gd name="connsiteY0" fmla="*/ 1181099 h 1181099"/>
              <a:gd name="connsiteX1" fmla="*/ 4638675 w 4638675"/>
              <a:gd name="connsiteY1" fmla="*/ 419099 h 1181099"/>
              <a:gd name="connsiteX2" fmla="*/ 3590925 w 4638675"/>
              <a:gd name="connsiteY2" fmla="*/ 166687 h 1181099"/>
              <a:gd name="connsiteX3" fmla="*/ 1924050 w 4638675"/>
              <a:gd name="connsiteY3" fmla="*/ 0 h 1181099"/>
              <a:gd name="connsiteX4" fmla="*/ 0 w 4638675"/>
              <a:gd name="connsiteY4" fmla="*/ 314324 h 1181099"/>
              <a:gd name="connsiteX5" fmla="*/ 1085851 w 4638675"/>
              <a:gd name="connsiteY5" fmla="*/ 595311 h 1181099"/>
              <a:gd name="connsiteX6" fmla="*/ 1552575 w 4638675"/>
              <a:gd name="connsiteY6" fmla="*/ 1176337 h 1181099"/>
              <a:gd name="connsiteX7" fmla="*/ 2138363 w 4638675"/>
              <a:gd name="connsiteY7" fmla="*/ 1090612 h 1181099"/>
              <a:gd name="connsiteX8" fmla="*/ 2933700 w 4638675"/>
              <a:gd name="connsiteY8" fmla="*/ 1152525 h 1181099"/>
              <a:gd name="connsiteX9" fmla="*/ 3590926 w 4638675"/>
              <a:gd name="connsiteY9" fmla="*/ 1181099 h 1181099"/>
              <a:gd name="connsiteX0" fmla="*/ 3590926 w 4638675"/>
              <a:gd name="connsiteY0" fmla="*/ 1190624 h 1190624"/>
              <a:gd name="connsiteX1" fmla="*/ 4638675 w 4638675"/>
              <a:gd name="connsiteY1" fmla="*/ 428624 h 1190624"/>
              <a:gd name="connsiteX2" fmla="*/ 3590925 w 4638675"/>
              <a:gd name="connsiteY2" fmla="*/ 176212 h 1190624"/>
              <a:gd name="connsiteX3" fmla="*/ 1962150 w 4638675"/>
              <a:gd name="connsiteY3" fmla="*/ 0 h 1190624"/>
              <a:gd name="connsiteX4" fmla="*/ 0 w 4638675"/>
              <a:gd name="connsiteY4" fmla="*/ 323849 h 1190624"/>
              <a:gd name="connsiteX5" fmla="*/ 1085851 w 4638675"/>
              <a:gd name="connsiteY5" fmla="*/ 604836 h 1190624"/>
              <a:gd name="connsiteX6" fmla="*/ 1552575 w 4638675"/>
              <a:gd name="connsiteY6" fmla="*/ 1185862 h 1190624"/>
              <a:gd name="connsiteX7" fmla="*/ 2138363 w 4638675"/>
              <a:gd name="connsiteY7" fmla="*/ 1100137 h 1190624"/>
              <a:gd name="connsiteX8" fmla="*/ 2933700 w 4638675"/>
              <a:gd name="connsiteY8" fmla="*/ 1162050 h 1190624"/>
              <a:gd name="connsiteX9" fmla="*/ 3590926 w 4638675"/>
              <a:gd name="connsiteY9" fmla="*/ 1190624 h 1190624"/>
              <a:gd name="connsiteX0" fmla="*/ 3081339 w 4129088"/>
              <a:gd name="connsiteY0" fmla="*/ 1190624 h 1190624"/>
              <a:gd name="connsiteX1" fmla="*/ 4129088 w 4129088"/>
              <a:gd name="connsiteY1" fmla="*/ 428624 h 1190624"/>
              <a:gd name="connsiteX2" fmla="*/ 3081338 w 4129088"/>
              <a:gd name="connsiteY2" fmla="*/ 176212 h 1190624"/>
              <a:gd name="connsiteX3" fmla="*/ 1452563 w 4129088"/>
              <a:gd name="connsiteY3" fmla="*/ 0 h 1190624"/>
              <a:gd name="connsiteX4" fmla="*/ 0 w 4129088"/>
              <a:gd name="connsiteY4" fmla="*/ 290511 h 1190624"/>
              <a:gd name="connsiteX5" fmla="*/ 576264 w 4129088"/>
              <a:gd name="connsiteY5" fmla="*/ 604836 h 1190624"/>
              <a:gd name="connsiteX6" fmla="*/ 1042988 w 4129088"/>
              <a:gd name="connsiteY6" fmla="*/ 1185862 h 1190624"/>
              <a:gd name="connsiteX7" fmla="*/ 1628776 w 4129088"/>
              <a:gd name="connsiteY7" fmla="*/ 1100137 h 1190624"/>
              <a:gd name="connsiteX8" fmla="*/ 2424113 w 4129088"/>
              <a:gd name="connsiteY8" fmla="*/ 1162050 h 1190624"/>
              <a:gd name="connsiteX9" fmla="*/ 3081339 w 4129088"/>
              <a:gd name="connsiteY9" fmla="*/ 1190624 h 1190624"/>
              <a:gd name="connsiteX0" fmla="*/ 3081339 w 4129088"/>
              <a:gd name="connsiteY0" fmla="*/ 1190624 h 1190624"/>
              <a:gd name="connsiteX1" fmla="*/ 4129088 w 4129088"/>
              <a:gd name="connsiteY1" fmla="*/ 428624 h 1190624"/>
              <a:gd name="connsiteX2" fmla="*/ 3081338 w 4129088"/>
              <a:gd name="connsiteY2" fmla="*/ 176212 h 1190624"/>
              <a:gd name="connsiteX3" fmla="*/ 1452563 w 4129088"/>
              <a:gd name="connsiteY3" fmla="*/ 0 h 1190624"/>
              <a:gd name="connsiteX4" fmla="*/ 0 w 4129088"/>
              <a:gd name="connsiteY4" fmla="*/ 290511 h 1190624"/>
              <a:gd name="connsiteX5" fmla="*/ 619126 w 4129088"/>
              <a:gd name="connsiteY5" fmla="*/ 604836 h 1190624"/>
              <a:gd name="connsiteX6" fmla="*/ 1042988 w 4129088"/>
              <a:gd name="connsiteY6" fmla="*/ 1185862 h 1190624"/>
              <a:gd name="connsiteX7" fmla="*/ 1628776 w 4129088"/>
              <a:gd name="connsiteY7" fmla="*/ 1100137 h 1190624"/>
              <a:gd name="connsiteX8" fmla="*/ 2424113 w 4129088"/>
              <a:gd name="connsiteY8" fmla="*/ 1162050 h 1190624"/>
              <a:gd name="connsiteX9" fmla="*/ 3081339 w 4129088"/>
              <a:gd name="connsiteY9" fmla="*/ 1190624 h 1190624"/>
              <a:gd name="connsiteX0" fmla="*/ 3005139 w 4052888"/>
              <a:gd name="connsiteY0" fmla="*/ 1190624 h 1190624"/>
              <a:gd name="connsiteX1" fmla="*/ 4052888 w 4052888"/>
              <a:gd name="connsiteY1" fmla="*/ 428624 h 1190624"/>
              <a:gd name="connsiteX2" fmla="*/ 3005138 w 4052888"/>
              <a:gd name="connsiteY2" fmla="*/ 176212 h 1190624"/>
              <a:gd name="connsiteX3" fmla="*/ 1376363 w 4052888"/>
              <a:gd name="connsiteY3" fmla="*/ 0 h 1190624"/>
              <a:gd name="connsiteX4" fmla="*/ 0 w 4052888"/>
              <a:gd name="connsiteY4" fmla="*/ 347661 h 1190624"/>
              <a:gd name="connsiteX5" fmla="*/ 542926 w 4052888"/>
              <a:gd name="connsiteY5" fmla="*/ 604836 h 1190624"/>
              <a:gd name="connsiteX6" fmla="*/ 966788 w 4052888"/>
              <a:gd name="connsiteY6" fmla="*/ 1185862 h 1190624"/>
              <a:gd name="connsiteX7" fmla="*/ 1552576 w 4052888"/>
              <a:gd name="connsiteY7" fmla="*/ 1100137 h 1190624"/>
              <a:gd name="connsiteX8" fmla="*/ 2347913 w 4052888"/>
              <a:gd name="connsiteY8" fmla="*/ 1162050 h 1190624"/>
              <a:gd name="connsiteX9" fmla="*/ 3005139 w 4052888"/>
              <a:gd name="connsiteY9" fmla="*/ 1190624 h 1190624"/>
              <a:gd name="connsiteX0" fmla="*/ 3005139 w 4052888"/>
              <a:gd name="connsiteY0" fmla="*/ 1109661 h 1109661"/>
              <a:gd name="connsiteX1" fmla="*/ 4052888 w 4052888"/>
              <a:gd name="connsiteY1" fmla="*/ 347661 h 1109661"/>
              <a:gd name="connsiteX2" fmla="*/ 3005138 w 4052888"/>
              <a:gd name="connsiteY2" fmla="*/ 95249 h 1109661"/>
              <a:gd name="connsiteX3" fmla="*/ 1157288 w 4052888"/>
              <a:gd name="connsiteY3" fmla="*/ 0 h 1109661"/>
              <a:gd name="connsiteX4" fmla="*/ 0 w 4052888"/>
              <a:gd name="connsiteY4" fmla="*/ 266698 h 1109661"/>
              <a:gd name="connsiteX5" fmla="*/ 542926 w 4052888"/>
              <a:gd name="connsiteY5" fmla="*/ 523873 h 1109661"/>
              <a:gd name="connsiteX6" fmla="*/ 966788 w 4052888"/>
              <a:gd name="connsiteY6" fmla="*/ 1104899 h 1109661"/>
              <a:gd name="connsiteX7" fmla="*/ 1552576 w 4052888"/>
              <a:gd name="connsiteY7" fmla="*/ 1019174 h 1109661"/>
              <a:gd name="connsiteX8" fmla="*/ 2347913 w 4052888"/>
              <a:gd name="connsiteY8" fmla="*/ 1081087 h 1109661"/>
              <a:gd name="connsiteX9" fmla="*/ 3005139 w 4052888"/>
              <a:gd name="connsiteY9" fmla="*/ 1109661 h 1109661"/>
              <a:gd name="connsiteX0" fmla="*/ 3354389 w 4052888"/>
              <a:gd name="connsiteY0" fmla="*/ 944561 h 1104979"/>
              <a:gd name="connsiteX1" fmla="*/ 4052888 w 4052888"/>
              <a:gd name="connsiteY1" fmla="*/ 347661 h 1104979"/>
              <a:gd name="connsiteX2" fmla="*/ 3005138 w 4052888"/>
              <a:gd name="connsiteY2" fmla="*/ 95249 h 1104979"/>
              <a:gd name="connsiteX3" fmla="*/ 1157288 w 4052888"/>
              <a:gd name="connsiteY3" fmla="*/ 0 h 1104979"/>
              <a:gd name="connsiteX4" fmla="*/ 0 w 4052888"/>
              <a:gd name="connsiteY4" fmla="*/ 266698 h 1104979"/>
              <a:gd name="connsiteX5" fmla="*/ 542926 w 4052888"/>
              <a:gd name="connsiteY5" fmla="*/ 523873 h 1104979"/>
              <a:gd name="connsiteX6" fmla="*/ 966788 w 4052888"/>
              <a:gd name="connsiteY6" fmla="*/ 1104899 h 1104979"/>
              <a:gd name="connsiteX7" fmla="*/ 1552576 w 4052888"/>
              <a:gd name="connsiteY7" fmla="*/ 1019174 h 1104979"/>
              <a:gd name="connsiteX8" fmla="*/ 2347913 w 4052888"/>
              <a:gd name="connsiteY8" fmla="*/ 1081087 h 1104979"/>
              <a:gd name="connsiteX9" fmla="*/ 3354389 w 4052888"/>
              <a:gd name="connsiteY9" fmla="*/ 944561 h 1104979"/>
              <a:gd name="connsiteX0" fmla="*/ 4280219 w 4978718"/>
              <a:gd name="connsiteY0" fmla="*/ 959803 h 1120221"/>
              <a:gd name="connsiteX1" fmla="*/ 4978718 w 4978718"/>
              <a:gd name="connsiteY1" fmla="*/ 362903 h 1120221"/>
              <a:gd name="connsiteX2" fmla="*/ 3930968 w 4978718"/>
              <a:gd name="connsiteY2" fmla="*/ 110491 h 1120221"/>
              <a:gd name="connsiteX3" fmla="*/ 2083118 w 4978718"/>
              <a:gd name="connsiteY3" fmla="*/ 15242 h 1120221"/>
              <a:gd name="connsiteX4" fmla="*/ 0 w 4978718"/>
              <a:gd name="connsiteY4" fmla="*/ 0 h 1120221"/>
              <a:gd name="connsiteX5" fmla="*/ 1468756 w 4978718"/>
              <a:gd name="connsiteY5" fmla="*/ 539115 h 1120221"/>
              <a:gd name="connsiteX6" fmla="*/ 1892618 w 4978718"/>
              <a:gd name="connsiteY6" fmla="*/ 1120141 h 1120221"/>
              <a:gd name="connsiteX7" fmla="*/ 2478406 w 4978718"/>
              <a:gd name="connsiteY7" fmla="*/ 1034416 h 1120221"/>
              <a:gd name="connsiteX8" fmla="*/ 3273743 w 4978718"/>
              <a:gd name="connsiteY8" fmla="*/ 1096329 h 1120221"/>
              <a:gd name="connsiteX9" fmla="*/ 4280219 w 4978718"/>
              <a:gd name="connsiteY9" fmla="*/ 959803 h 1120221"/>
              <a:gd name="connsiteX0" fmla="*/ 4280219 w 4978718"/>
              <a:gd name="connsiteY0" fmla="*/ 959803 h 1096329"/>
              <a:gd name="connsiteX1" fmla="*/ 4978718 w 4978718"/>
              <a:gd name="connsiteY1" fmla="*/ 362903 h 1096329"/>
              <a:gd name="connsiteX2" fmla="*/ 3930968 w 4978718"/>
              <a:gd name="connsiteY2" fmla="*/ 110491 h 1096329"/>
              <a:gd name="connsiteX3" fmla="*/ 2083118 w 4978718"/>
              <a:gd name="connsiteY3" fmla="*/ 15242 h 1096329"/>
              <a:gd name="connsiteX4" fmla="*/ 0 w 4978718"/>
              <a:gd name="connsiteY4" fmla="*/ 0 h 1096329"/>
              <a:gd name="connsiteX5" fmla="*/ 1468756 w 4978718"/>
              <a:gd name="connsiteY5" fmla="*/ 539115 h 1096329"/>
              <a:gd name="connsiteX6" fmla="*/ 1271588 w 4978718"/>
              <a:gd name="connsiteY6" fmla="*/ 1089661 h 1096329"/>
              <a:gd name="connsiteX7" fmla="*/ 2478406 w 4978718"/>
              <a:gd name="connsiteY7" fmla="*/ 1034416 h 1096329"/>
              <a:gd name="connsiteX8" fmla="*/ 3273743 w 4978718"/>
              <a:gd name="connsiteY8" fmla="*/ 1096329 h 1096329"/>
              <a:gd name="connsiteX9" fmla="*/ 4280219 w 4978718"/>
              <a:gd name="connsiteY9" fmla="*/ 959803 h 1096329"/>
              <a:gd name="connsiteX0" fmla="*/ 4280219 w 4978718"/>
              <a:gd name="connsiteY0" fmla="*/ 959803 h 1096329"/>
              <a:gd name="connsiteX1" fmla="*/ 4978718 w 4978718"/>
              <a:gd name="connsiteY1" fmla="*/ 362903 h 1096329"/>
              <a:gd name="connsiteX2" fmla="*/ 3930968 w 4978718"/>
              <a:gd name="connsiteY2" fmla="*/ 110491 h 1096329"/>
              <a:gd name="connsiteX3" fmla="*/ 2083118 w 4978718"/>
              <a:gd name="connsiteY3" fmla="*/ 15242 h 1096329"/>
              <a:gd name="connsiteX4" fmla="*/ 0 w 4978718"/>
              <a:gd name="connsiteY4" fmla="*/ 0 h 1096329"/>
              <a:gd name="connsiteX5" fmla="*/ 1438276 w 4978718"/>
              <a:gd name="connsiteY5" fmla="*/ 550545 h 1096329"/>
              <a:gd name="connsiteX6" fmla="*/ 1271588 w 4978718"/>
              <a:gd name="connsiteY6" fmla="*/ 1089661 h 1096329"/>
              <a:gd name="connsiteX7" fmla="*/ 2478406 w 4978718"/>
              <a:gd name="connsiteY7" fmla="*/ 1034416 h 1096329"/>
              <a:gd name="connsiteX8" fmla="*/ 3273743 w 4978718"/>
              <a:gd name="connsiteY8" fmla="*/ 1096329 h 1096329"/>
              <a:gd name="connsiteX9" fmla="*/ 4280219 w 4978718"/>
              <a:gd name="connsiteY9" fmla="*/ 959803 h 1096329"/>
              <a:gd name="connsiteX0" fmla="*/ 4280219 w 4978718"/>
              <a:gd name="connsiteY0" fmla="*/ 1192211 h 1328737"/>
              <a:gd name="connsiteX1" fmla="*/ 4978718 w 4978718"/>
              <a:gd name="connsiteY1" fmla="*/ 595311 h 1328737"/>
              <a:gd name="connsiteX2" fmla="*/ 3930968 w 4978718"/>
              <a:gd name="connsiteY2" fmla="*/ 342899 h 1328737"/>
              <a:gd name="connsiteX3" fmla="*/ 1671638 w 4978718"/>
              <a:gd name="connsiteY3" fmla="*/ 0 h 1328737"/>
              <a:gd name="connsiteX4" fmla="*/ 0 w 4978718"/>
              <a:gd name="connsiteY4" fmla="*/ 232408 h 1328737"/>
              <a:gd name="connsiteX5" fmla="*/ 1438276 w 4978718"/>
              <a:gd name="connsiteY5" fmla="*/ 782953 h 1328737"/>
              <a:gd name="connsiteX6" fmla="*/ 1271588 w 4978718"/>
              <a:gd name="connsiteY6" fmla="*/ 1322069 h 1328737"/>
              <a:gd name="connsiteX7" fmla="*/ 2478406 w 4978718"/>
              <a:gd name="connsiteY7" fmla="*/ 1266824 h 1328737"/>
              <a:gd name="connsiteX8" fmla="*/ 3273743 w 4978718"/>
              <a:gd name="connsiteY8" fmla="*/ 1328737 h 1328737"/>
              <a:gd name="connsiteX9" fmla="*/ 4280219 w 4978718"/>
              <a:gd name="connsiteY9" fmla="*/ 1192211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78718" h="1328737">
                <a:moveTo>
                  <a:pt x="4280219" y="1192211"/>
                </a:moveTo>
                <a:lnTo>
                  <a:pt x="4978718" y="595311"/>
                </a:lnTo>
                <a:lnTo>
                  <a:pt x="3930968" y="342899"/>
                </a:lnTo>
                <a:lnTo>
                  <a:pt x="1671638" y="0"/>
                </a:lnTo>
                <a:lnTo>
                  <a:pt x="0" y="232408"/>
                </a:lnTo>
                <a:lnTo>
                  <a:pt x="1438276" y="782953"/>
                </a:lnTo>
                <a:lnTo>
                  <a:pt x="1271588" y="1322069"/>
                </a:lnTo>
                <a:cubicBezTo>
                  <a:pt x="1282701" y="1325244"/>
                  <a:pt x="2467293" y="1263649"/>
                  <a:pt x="2478406" y="1266824"/>
                </a:cubicBezTo>
                <a:lnTo>
                  <a:pt x="3273743" y="1328737"/>
                </a:lnTo>
                <a:lnTo>
                  <a:pt x="4280219" y="1192211"/>
                </a:lnTo>
                <a:close/>
              </a:path>
            </a:pathLst>
          </a:custGeom>
          <a:solidFill>
            <a:schemeClr val="accent5">
              <a:alpha val="2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0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object 6">
            <a:extLst>
              <a:ext uri="{FF2B5EF4-FFF2-40B4-BE49-F238E27FC236}">
                <a16:creationId xmlns:a16="http://schemas.microsoft.com/office/drawing/2014/main" id="{4F8C6F30-0775-1F85-42AC-0F42B1EAAC05}"/>
              </a:ext>
            </a:extLst>
          </p:cNvPr>
          <p:cNvSpPr>
            <a:spLocks/>
          </p:cNvSpPr>
          <p:nvPr/>
        </p:nvSpPr>
        <p:spPr bwMode="auto">
          <a:xfrm>
            <a:off x="695325" y="6478588"/>
            <a:ext cx="635000" cy="241300"/>
          </a:xfrm>
          <a:custGeom>
            <a:avLst/>
            <a:gdLst>
              <a:gd name="T0" fmla="*/ 0 w 634365"/>
              <a:gd name="T1" fmla="*/ 238480 h 240029"/>
              <a:gd name="T2" fmla="*/ 48430 w 634365"/>
              <a:gd name="T3" fmla="*/ 0 h 240029"/>
              <a:gd name="T4" fmla="*/ 104008 w 634365"/>
              <a:gd name="T5" fmla="*/ 238480 h 240029"/>
              <a:gd name="T6" fmla="*/ 95274 w 634365"/>
              <a:gd name="T7" fmla="*/ 155775 h 240029"/>
              <a:gd name="T8" fmla="*/ 104008 w 634365"/>
              <a:gd name="T9" fmla="*/ 73069 h 240029"/>
              <a:gd name="T10" fmla="*/ 104008 w 634365"/>
              <a:gd name="T11" fmla="*/ 238480 h 240029"/>
              <a:gd name="T12" fmla="*/ 427148 w 634365"/>
              <a:gd name="T13" fmla="*/ 238480 h 240029"/>
              <a:gd name="T14" fmla="*/ 475580 w 634365"/>
              <a:gd name="T15" fmla="*/ 0 h 240029"/>
              <a:gd name="T16" fmla="*/ 578794 w 634365"/>
              <a:gd name="T17" fmla="*/ 238480 h 240029"/>
              <a:gd name="T18" fmla="*/ 475580 w 634365"/>
              <a:gd name="T19" fmla="*/ 155775 h 240029"/>
              <a:gd name="T20" fmla="*/ 578794 w 634365"/>
              <a:gd name="T21" fmla="*/ 73069 h 240029"/>
              <a:gd name="T22" fmla="*/ 578794 w 634365"/>
              <a:gd name="T23" fmla="*/ 238480 h 240029"/>
              <a:gd name="T24" fmla="*/ 193862 w 634365"/>
              <a:gd name="T25" fmla="*/ 237903 h 240029"/>
              <a:gd name="T26" fmla="*/ 169224 w 634365"/>
              <a:gd name="T27" fmla="*/ 202522 h 240029"/>
              <a:gd name="T28" fmla="*/ 166731 w 634365"/>
              <a:gd name="T29" fmla="*/ 73069 h 240029"/>
              <a:gd name="T30" fmla="*/ 213591 w 634365"/>
              <a:gd name="T31" fmla="*/ 160592 h 240029"/>
              <a:gd name="T32" fmla="*/ 216451 w 634365"/>
              <a:gd name="T33" fmla="*/ 190502 h 240029"/>
              <a:gd name="T34" fmla="*/ 236599 w 634365"/>
              <a:gd name="T35" fmla="*/ 203149 h 240029"/>
              <a:gd name="T36" fmla="*/ 310436 w 634365"/>
              <a:gd name="T37" fmla="*/ 215194 h 240029"/>
              <a:gd name="T38" fmla="*/ 255865 w 634365"/>
              <a:gd name="T39" fmla="*/ 226573 h 240029"/>
              <a:gd name="T40" fmla="*/ 234452 w 634365"/>
              <a:gd name="T41" fmla="*/ 240600 h 240029"/>
              <a:gd name="T42" fmla="*/ 310436 w 634365"/>
              <a:gd name="T43" fmla="*/ 203149 h 240029"/>
              <a:gd name="T44" fmla="*/ 249190 w 634365"/>
              <a:gd name="T45" fmla="*/ 200791 h 240029"/>
              <a:gd name="T46" fmla="*/ 262166 w 634365"/>
              <a:gd name="T47" fmla="*/ 180115 h 240029"/>
              <a:gd name="T48" fmla="*/ 263593 w 634365"/>
              <a:gd name="T49" fmla="*/ 73069 h 240029"/>
              <a:gd name="T50" fmla="*/ 310436 w 634365"/>
              <a:gd name="T51" fmla="*/ 203149 h 240029"/>
              <a:gd name="T52" fmla="*/ 263593 w 634365"/>
              <a:gd name="T53" fmla="*/ 238480 h 240029"/>
              <a:gd name="T54" fmla="*/ 310436 w 634365"/>
              <a:gd name="T55" fmla="*/ 215194 h 240029"/>
              <a:gd name="T56" fmla="*/ 405711 w 634365"/>
              <a:gd name="T57" fmla="*/ 238480 h 240029"/>
              <a:gd name="T58" fmla="*/ 367279 w 634365"/>
              <a:gd name="T59" fmla="*/ 236623 h 240029"/>
              <a:gd name="T60" fmla="*/ 342518 w 634365"/>
              <a:gd name="T61" fmla="*/ 215445 h 240029"/>
              <a:gd name="T62" fmla="*/ 339813 w 634365"/>
              <a:gd name="T63" fmla="*/ 0 h 240029"/>
              <a:gd name="T64" fmla="*/ 388244 w 634365"/>
              <a:gd name="T65" fmla="*/ 179863 h 240029"/>
              <a:gd name="T66" fmla="*/ 388405 w 634365"/>
              <a:gd name="T67" fmla="*/ 188846 h 240029"/>
              <a:gd name="T68" fmla="*/ 397164 w 634365"/>
              <a:gd name="T69" fmla="*/ 197479 h 240029"/>
              <a:gd name="T70" fmla="*/ 405711 w 634365"/>
              <a:gd name="T71" fmla="*/ 238480 h 240029"/>
              <a:gd name="T72" fmla="*/ 602613 w 634365"/>
              <a:gd name="T73" fmla="*/ 76282 h 240029"/>
              <a:gd name="T74" fmla="*/ 615316 w 634365"/>
              <a:gd name="T75" fmla="*/ 73069 h 240029"/>
              <a:gd name="T76" fmla="*/ 610553 w 634365"/>
              <a:gd name="T77" fmla="*/ 88325 h 240029"/>
              <a:gd name="T78" fmla="*/ 607376 w 634365"/>
              <a:gd name="T79" fmla="*/ 76282 h 240029"/>
              <a:gd name="T80" fmla="*/ 610553 w 634365"/>
              <a:gd name="T81" fmla="*/ 88325 h 240029"/>
              <a:gd name="T82" fmla="*/ 617698 w 634365"/>
              <a:gd name="T83" fmla="*/ 88325 h 240029"/>
              <a:gd name="T84" fmla="*/ 623256 w 634365"/>
              <a:gd name="T85" fmla="*/ 73069 h 240029"/>
              <a:gd name="T86" fmla="*/ 621668 w 634365"/>
              <a:gd name="T87" fmla="*/ 77887 h 240029"/>
              <a:gd name="T88" fmla="*/ 629485 w 634365"/>
              <a:gd name="T89" fmla="*/ 83508 h 240029"/>
              <a:gd name="T90" fmla="*/ 629608 w 634365"/>
              <a:gd name="T91" fmla="*/ 73069 h 240029"/>
              <a:gd name="T92" fmla="*/ 635165 w 634365"/>
              <a:gd name="T93" fmla="*/ 77887 h 240029"/>
              <a:gd name="T94" fmla="*/ 629485 w 634365"/>
              <a:gd name="T95" fmla="*/ 83508 h 240029"/>
              <a:gd name="T96" fmla="*/ 624843 w 634365"/>
              <a:gd name="T97" fmla="*/ 88325 h 240029"/>
              <a:gd name="T98" fmla="*/ 624721 w 634365"/>
              <a:gd name="T99" fmla="*/ 77887 h 240029"/>
              <a:gd name="T100" fmla="*/ 629485 w 634365"/>
              <a:gd name="T101" fmla="*/ 83508 h 240029"/>
              <a:gd name="T102" fmla="*/ 635165 w 634365"/>
              <a:gd name="T103" fmla="*/ 88325 h 240029"/>
              <a:gd name="T104" fmla="*/ 631195 w 634365"/>
              <a:gd name="T105" fmla="*/ 77887 h 240029"/>
              <a:gd name="T106" fmla="*/ 635165 w 634365"/>
              <a:gd name="T107" fmla="*/ 88325 h 240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34365" h="240029">
                <a:moveTo>
                  <a:pt x="48334" y="235974"/>
                </a:moveTo>
                <a:lnTo>
                  <a:pt x="0" y="235974"/>
                </a:lnTo>
                <a:lnTo>
                  <a:pt x="0" y="0"/>
                </a:lnTo>
                <a:lnTo>
                  <a:pt x="48334" y="0"/>
                </a:lnTo>
                <a:lnTo>
                  <a:pt x="48334" y="235974"/>
                </a:lnTo>
                <a:close/>
              </a:path>
              <a:path w="634365" h="240029">
                <a:moveTo>
                  <a:pt x="103800" y="235974"/>
                </a:moveTo>
                <a:lnTo>
                  <a:pt x="48334" y="235974"/>
                </a:lnTo>
                <a:lnTo>
                  <a:pt x="95084" y="154138"/>
                </a:lnTo>
                <a:lnTo>
                  <a:pt x="48334" y="72301"/>
                </a:lnTo>
                <a:lnTo>
                  <a:pt x="103800" y="72301"/>
                </a:lnTo>
                <a:lnTo>
                  <a:pt x="151342" y="154138"/>
                </a:lnTo>
                <a:lnTo>
                  <a:pt x="103800" y="235974"/>
                </a:lnTo>
                <a:close/>
              </a:path>
              <a:path w="634365" h="240029">
                <a:moveTo>
                  <a:pt x="474629" y="235974"/>
                </a:moveTo>
                <a:lnTo>
                  <a:pt x="426294" y="235974"/>
                </a:lnTo>
                <a:lnTo>
                  <a:pt x="426294" y="0"/>
                </a:lnTo>
                <a:lnTo>
                  <a:pt x="474629" y="0"/>
                </a:lnTo>
                <a:lnTo>
                  <a:pt x="474629" y="235974"/>
                </a:lnTo>
                <a:close/>
              </a:path>
              <a:path w="634365" h="240029">
                <a:moveTo>
                  <a:pt x="577637" y="235974"/>
                </a:moveTo>
                <a:lnTo>
                  <a:pt x="521379" y="235974"/>
                </a:lnTo>
                <a:lnTo>
                  <a:pt x="474629" y="154138"/>
                </a:lnTo>
                <a:lnTo>
                  <a:pt x="521379" y="72301"/>
                </a:lnTo>
                <a:lnTo>
                  <a:pt x="577637" y="72301"/>
                </a:lnTo>
                <a:lnTo>
                  <a:pt x="530095" y="154138"/>
                </a:lnTo>
                <a:lnTo>
                  <a:pt x="577637" y="235974"/>
                </a:lnTo>
                <a:close/>
              </a:path>
              <a:path w="634365" h="240029">
                <a:moveTo>
                  <a:pt x="218693" y="239947"/>
                </a:moveTo>
                <a:lnTo>
                  <a:pt x="193474" y="235403"/>
                </a:lnTo>
                <a:lnTo>
                  <a:pt x="177391" y="222070"/>
                </a:lnTo>
                <a:lnTo>
                  <a:pt x="168886" y="200394"/>
                </a:lnTo>
                <a:lnTo>
                  <a:pt x="166397" y="170823"/>
                </a:lnTo>
                <a:lnTo>
                  <a:pt x="166397" y="72301"/>
                </a:lnTo>
                <a:lnTo>
                  <a:pt x="213147" y="72301"/>
                </a:lnTo>
                <a:lnTo>
                  <a:pt x="213164" y="158905"/>
                </a:lnTo>
                <a:lnTo>
                  <a:pt x="213506" y="174870"/>
                </a:lnTo>
                <a:lnTo>
                  <a:pt x="216019" y="188501"/>
                </a:lnTo>
                <a:lnTo>
                  <a:pt x="222841" y="197663"/>
                </a:lnTo>
                <a:lnTo>
                  <a:pt x="236126" y="201015"/>
                </a:lnTo>
                <a:lnTo>
                  <a:pt x="309816" y="201015"/>
                </a:lnTo>
                <a:lnTo>
                  <a:pt x="309816" y="212933"/>
                </a:lnTo>
                <a:lnTo>
                  <a:pt x="263066" y="212933"/>
                </a:lnTo>
                <a:lnTo>
                  <a:pt x="255353" y="224193"/>
                </a:lnTo>
                <a:lnTo>
                  <a:pt x="245931" y="232697"/>
                </a:lnTo>
                <a:lnTo>
                  <a:pt x="233984" y="238072"/>
                </a:lnTo>
                <a:lnTo>
                  <a:pt x="218693" y="239947"/>
                </a:lnTo>
                <a:close/>
              </a:path>
              <a:path w="634365" h="240029">
                <a:moveTo>
                  <a:pt x="309816" y="201015"/>
                </a:moveTo>
                <a:lnTo>
                  <a:pt x="236126" y="201015"/>
                </a:lnTo>
                <a:lnTo>
                  <a:pt x="248692" y="198681"/>
                </a:lnTo>
                <a:lnTo>
                  <a:pt x="257024" y="191282"/>
                </a:lnTo>
                <a:lnTo>
                  <a:pt x="261642" y="178222"/>
                </a:lnTo>
                <a:lnTo>
                  <a:pt x="263066" y="158905"/>
                </a:lnTo>
                <a:lnTo>
                  <a:pt x="263066" y="72301"/>
                </a:lnTo>
                <a:lnTo>
                  <a:pt x="309816" y="72301"/>
                </a:lnTo>
                <a:lnTo>
                  <a:pt x="309816" y="201015"/>
                </a:lnTo>
                <a:close/>
              </a:path>
              <a:path w="634365" h="240029">
                <a:moveTo>
                  <a:pt x="309816" y="235974"/>
                </a:moveTo>
                <a:lnTo>
                  <a:pt x="263066" y="235974"/>
                </a:lnTo>
                <a:lnTo>
                  <a:pt x="263066" y="212933"/>
                </a:lnTo>
                <a:lnTo>
                  <a:pt x="309816" y="212933"/>
                </a:lnTo>
                <a:lnTo>
                  <a:pt x="309816" y="235974"/>
                </a:lnTo>
                <a:close/>
              </a:path>
              <a:path w="634365" h="240029">
                <a:moveTo>
                  <a:pt x="404900" y="235974"/>
                </a:moveTo>
                <a:lnTo>
                  <a:pt x="390638" y="235974"/>
                </a:lnTo>
                <a:lnTo>
                  <a:pt x="366545" y="234137"/>
                </a:lnTo>
                <a:lnTo>
                  <a:pt x="350623" y="227234"/>
                </a:lnTo>
                <a:lnTo>
                  <a:pt x="341833" y="213181"/>
                </a:lnTo>
                <a:lnTo>
                  <a:pt x="339134" y="189892"/>
                </a:lnTo>
                <a:lnTo>
                  <a:pt x="339134" y="0"/>
                </a:lnTo>
                <a:lnTo>
                  <a:pt x="387468" y="0"/>
                </a:lnTo>
                <a:lnTo>
                  <a:pt x="387468" y="177974"/>
                </a:lnTo>
                <a:lnTo>
                  <a:pt x="386676" y="177974"/>
                </a:lnTo>
                <a:lnTo>
                  <a:pt x="387629" y="186862"/>
                </a:lnTo>
                <a:lnTo>
                  <a:pt x="390737" y="192474"/>
                </a:lnTo>
                <a:lnTo>
                  <a:pt x="396370" y="195404"/>
                </a:lnTo>
                <a:lnTo>
                  <a:pt x="404900" y="196248"/>
                </a:lnTo>
                <a:lnTo>
                  <a:pt x="404900" y="235974"/>
                </a:lnTo>
                <a:close/>
              </a:path>
              <a:path w="634365" h="240029">
                <a:moveTo>
                  <a:pt x="614086" y="75480"/>
                </a:moveTo>
                <a:lnTo>
                  <a:pt x="601408" y="75480"/>
                </a:lnTo>
                <a:lnTo>
                  <a:pt x="601408" y="72301"/>
                </a:lnTo>
                <a:lnTo>
                  <a:pt x="614086" y="72301"/>
                </a:lnTo>
                <a:lnTo>
                  <a:pt x="614086" y="75480"/>
                </a:lnTo>
                <a:close/>
              </a:path>
              <a:path w="634365" h="240029">
                <a:moveTo>
                  <a:pt x="609332" y="87397"/>
                </a:moveTo>
                <a:lnTo>
                  <a:pt x="606162" y="87397"/>
                </a:lnTo>
                <a:lnTo>
                  <a:pt x="606162" y="75480"/>
                </a:lnTo>
                <a:lnTo>
                  <a:pt x="609332" y="75480"/>
                </a:lnTo>
                <a:lnTo>
                  <a:pt x="609332" y="87397"/>
                </a:lnTo>
                <a:close/>
              </a:path>
              <a:path w="634365" h="240029">
                <a:moveTo>
                  <a:pt x="620425" y="87397"/>
                </a:moveTo>
                <a:lnTo>
                  <a:pt x="616463" y="87397"/>
                </a:lnTo>
                <a:lnTo>
                  <a:pt x="616463" y="72301"/>
                </a:lnTo>
                <a:lnTo>
                  <a:pt x="622010" y="72301"/>
                </a:lnTo>
                <a:lnTo>
                  <a:pt x="623472" y="77069"/>
                </a:lnTo>
                <a:lnTo>
                  <a:pt x="620425" y="77069"/>
                </a:lnTo>
                <a:lnTo>
                  <a:pt x="620425" y="87397"/>
                </a:lnTo>
                <a:close/>
              </a:path>
              <a:path w="634365" h="240029">
                <a:moveTo>
                  <a:pt x="628227" y="82630"/>
                </a:moveTo>
                <a:lnTo>
                  <a:pt x="625179" y="82630"/>
                </a:lnTo>
                <a:lnTo>
                  <a:pt x="628349" y="72301"/>
                </a:lnTo>
                <a:lnTo>
                  <a:pt x="633895" y="72301"/>
                </a:lnTo>
                <a:lnTo>
                  <a:pt x="633895" y="77069"/>
                </a:lnTo>
                <a:lnTo>
                  <a:pt x="629933" y="77069"/>
                </a:lnTo>
                <a:lnTo>
                  <a:pt x="628227" y="82630"/>
                </a:lnTo>
                <a:close/>
              </a:path>
              <a:path w="634365" h="240029">
                <a:moveTo>
                  <a:pt x="626764" y="87397"/>
                </a:moveTo>
                <a:lnTo>
                  <a:pt x="623594" y="87397"/>
                </a:lnTo>
                <a:lnTo>
                  <a:pt x="620425" y="77069"/>
                </a:lnTo>
                <a:lnTo>
                  <a:pt x="623472" y="77069"/>
                </a:lnTo>
                <a:lnTo>
                  <a:pt x="625179" y="82630"/>
                </a:lnTo>
                <a:lnTo>
                  <a:pt x="628227" y="82630"/>
                </a:lnTo>
                <a:lnTo>
                  <a:pt x="626764" y="87397"/>
                </a:lnTo>
                <a:close/>
              </a:path>
              <a:path w="634365" h="240029">
                <a:moveTo>
                  <a:pt x="633895" y="87397"/>
                </a:moveTo>
                <a:lnTo>
                  <a:pt x="629933" y="87397"/>
                </a:lnTo>
                <a:lnTo>
                  <a:pt x="629933" y="77069"/>
                </a:lnTo>
                <a:lnTo>
                  <a:pt x="633895" y="77069"/>
                </a:lnTo>
                <a:lnTo>
                  <a:pt x="633895" y="87397"/>
                </a:lnTo>
                <a:close/>
              </a:path>
            </a:pathLst>
          </a:custGeom>
          <a:solidFill>
            <a:schemeClr val="bg1"/>
          </a:solidFill>
          <a:ln>
            <a:noFill/>
          </a:ln>
        </p:spPr>
        <p:txBody>
          <a:bodyPr lIns="0" tIns="0" rIns="0" bIns="0"/>
          <a:lstStyle/>
          <a:p>
            <a:endParaRPr lang="nb-NO"/>
          </a:p>
        </p:txBody>
      </p:sp>
      <p:sp>
        <p:nvSpPr>
          <p:cNvPr id="3" name="Slide Number Placeholder 4">
            <a:extLst>
              <a:ext uri="{FF2B5EF4-FFF2-40B4-BE49-F238E27FC236}">
                <a16:creationId xmlns:a16="http://schemas.microsoft.com/office/drawing/2014/main" id="{77996FBA-CFB9-C547-E3C5-A8A0589BB80E}"/>
              </a:ext>
            </a:extLst>
          </p:cNvPr>
          <p:cNvSpPr>
            <a:spLocks noGrp="1"/>
          </p:cNvSpPr>
          <p:nvPr>
            <p:ph type="sldNum" sz="quarter" idx="12"/>
          </p:nvPr>
        </p:nvSpPr>
        <p:spPr>
          <a:xfrm>
            <a:off x="11418888" y="6473310"/>
            <a:ext cx="686026" cy="246578"/>
          </a:xfrm>
        </p:spPr>
        <p:txBody>
          <a:bodyPr/>
          <a:lstStyle/>
          <a:p>
            <a:pPr>
              <a:defRPr/>
            </a:pPr>
            <a:fld id="{E9A8FBAF-0888-4EBA-BABF-C1B1411D4DB4}" type="slidenum">
              <a:rPr lang="en-GB" sz="1800" smtClean="0"/>
              <a:pPr>
                <a:defRPr/>
              </a:pPr>
              <a:t>20</a:t>
            </a:fld>
            <a:endParaRPr lang="en-GB" sz="1800"/>
          </a:p>
        </p:txBody>
      </p:sp>
      <p:pic>
        <p:nvPicPr>
          <p:cNvPr id="11" name="Bilde 4">
            <a:extLst>
              <a:ext uri="{FF2B5EF4-FFF2-40B4-BE49-F238E27FC236}">
                <a16:creationId xmlns:a16="http://schemas.microsoft.com/office/drawing/2014/main" id="{815674FB-0C07-ACC6-291C-BD572F0F1FF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p:blipFill>
        <p:spPr bwMode="auto">
          <a:xfrm>
            <a:off x="671996" y="386408"/>
            <a:ext cx="838258" cy="869305"/>
          </a:xfrm>
          <a:prstGeom prst="rect">
            <a:avLst/>
          </a:prstGeom>
          <a:noFill/>
          <a:ln w="19050" cap="rnd">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28228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2" name="Bilde 161">
            <a:extLst>
              <a:ext uri="{FF2B5EF4-FFF2-40B4-BE49-F238E27FC236}">
                <a16:creationId xmlns:a16="http://schemas.microsoft.com/office/drawing/2014/main" id="{093550E0-F1CE-C018-5135-DAF8C979CF4B}"/>
              </a:ext>
            </a:extLst>
          </p:cNvPr>
          <p:cNvPicPr>
            <a:picLocks noChangeAspect="1"/>
          </p:cNvPicPr>
          <p:nvPr/>
        </p:nvPicPr>
        <p:blipFill>
          <a:blip r:embed="rId3"/>
          <a:stretch>
            <a:fillRect/>
          </a:stretch>
        </p:blipFill>
        <p:spPr>
          <a:xfrm>
            <a:off x="1987467" y="3127889"/>
            <a:ext cx="1904241" cy="1776343"/>
          </a:xfrm>
          <a:prstGeom prst="rect">
            <a:avLst/>
          </a:prstGeom>
          <a:effectLst>
            <a:softEdge rad="63500"/>
          </a:effectLst>
        </p:spPr>
      </p:pic>
      <p:graphicFrame>
        <p:nvGraphicFramePr>
          <p:cNvPr id="154" name="Diagram 153">
            <a:extLst>
              <a:ext uri="{FF2B5EF4-FFF2-40B4-BE49-F238E27FC236}">
                <a16:creationId xmlns:a16="http://schemas.microsoft.com/office/drawing/2014/main" id="{5D4AEFD7-ED42-9347-3C6E-8D8812C30D41}"/>
              </a:ext>
            </a:extLst>
          </p:cNvPr>
          <p:cNvGraphicFramePr/>
          <p:nvPr>
            <p:extLst>
              <p:ext uri="{D42A27DB-BD31-4B8C-83A1-F6EECF244321}">
                <p14:modId xmlns:p14="http://schemas.microsoft.com/office/powerpoint/2010/main" val="1952437300"/>
              </p:ext>
            </p:extLst>
          </p:nvPr>
        </p:nvGraphicFramePr>
        <p:xfrm>
          <a:off x="978936" y="2865951"/>
          <a:ext cx="3868837" cy="3116889"/>
        </p:xfrm>
        <a:graphic>
          <a:graphicData uri="http://schemas.openxmlformats.org/drawingml/2006/chart">
            <c:chart xmlns:c="http://schemas.openxmlformats.org/drawingml/2006/chart" xmlns:r="http://schemas.openxmlformats.org/officeDocument/2006/relationships" r:id="rId4"/>
          </a:graphicData>
        </a:graphic>
      </p:graphicFrame>
      <p:pic>
        <p:nvPicPr>
          <p:cNvPr id="39" name="Bilde 38">
            <a:extLst>
              <a:ext uri="{FF2B5EF4-FFF2-40B4-BE49-F238E27FC236}">
                <a16:creationId xmlns:a16="http://schemas.microsoft.com/office/drawing/2014/main" id="{CE90FFB7-DF4C-E17E-9A07-B29C78C490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014" t="20980" r="22008" b="37099"/>
          <a:stretch/>
        </p:blipFill>
        <p:spPr>
          <a:xfrm>
            <a:off x="3284672" y="1525489"/>
            <a:ext cx="1173620" cy="569667"/>
          </a:xfrm>
          <a:prstGeom prst="rect">
            <a:avLst/>
          </a:prstGeom>
        </p:spPr>
      </p:pic>
      <p:sp>
        <p:nvSpPr>
          <p:cNvPr id="2" name="Tittel 1">
            <a:extLst>
              <a:ext uri="{FF2B5EF4-FFF2-40B4-BE49-F238E27FC236}">
                <a16:creationId xmlns:a16="http://schemas.microsoft.com/office/drawing/2014/main" id="{F3CEB90D-8B76-88D5-6C44-11286AE1F2FF}"/>
              </a:ext>
            </a:extLst>
          </p:cNvPr>
          <p:cNvSpPr>
            <a:spLocks noGrp="1"/>
          </p:cNvSpPr>
          <p:nvPr>
            <p:ph type="title"/>
          </p:nvPr>
        </p:nvSpPr>
        <p:spPr>
          <a:xfrm>
            <a:off x="600075" y="409575"/>
            <a:ext cx="10493375" cy="480131"/>
          </a:xfrm>
        </p:spPr>
        <p:txBody>
          <a:bodyPr/>
          <a:lstStyle/>
          <a:p>
            <a:r>
              <a:rPr lang="nb-NO" dirty="0" err="1"/>
              <a:t>Ecosystem</a:t>
            </a:r>
            <a:r>
              <a:rPr lang="nb-NO" dirty="0"/>
              <a:t> – heat </a:t>
            </a:r>
            <a:r>
              <a:rPr lang="nb-NO" dirty="0" err="1"/>
              <a:t>reuse</a:t>
            </a:r>
            <a:r>
              <a:rPr lang="nb-NO" dirty="0"/>
              <a:t> in a </a:t>
            </a:r>
            <a:r>
              <a:rPr lang="nb-NO" dirty="0" err="1"/>
              <a:t>circular</a:t>
            </a:r>
            <a:r>
              <a:rPr lang="nb-NO" dirty="0"/>
              <a:t> </a:t>
            </a:r>
            <a:r>
              <a:rPr lang="nb-NO" dirty="0" err="1"/>
              <a:t>industry</a:t>
            </a:r>
            <a:r>
              <a:rPr lang="nb-NO" dirty="0"/>
              <a:t> </a:t>
            </a:r>
            <a:r>
              <a:rPr lang="nb-NO" dirty="0" err="1"/>
              <a:t>cluster</a:t>
            </a:r>
            <a:endParaRPr lang="en-GB" dirty="0"/>
          </a:p>
        </p:txBody>
      </p:sp>
      <p:pic>
        <p:nvPicPr>
          <p:cNvPr id="23" name="Picture 2" descr="Funcionários, localidade, carreiras da Dalsem - Complete Greenhouse  Projects | LinkedIn">
            <a:extLst>
              <a:ext uri="{FF2B5EF4-FFF2-40B4-BE49-F238E27FC236}">
                <a16:creationId xmlns:a16="http://schemas.microsoft.com/office/drawing/2014/main" id="{95ED18EC-9643-F6AE-B3CC-0C83B8762BD5}"/>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t="39052" b="5192"/>
          <a:stretch/>
        </p:blipFill>
        <p:spPr bwMode="auto">
          <a:xfrm>
            <a:off x="808795" y="1523902"/>
            <a:ext cx="1173616" cy="569667"/>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86">
            <a:extLst>
              <a:ext uri="{FF2B5EF4-FFF2-40B4-BE49-F238E27FC236}">
                <a16:creationId xmlns:a16="http://schemas.microsoft.com/office/drawing/2014/main" id="{C602A4C1-D546-021D-81A5-2C8CBE00C2C2}"/>
              </a:ext>
            </a:extLst>
          </p:cNvPr>
          <p:cNvSpPr/>
          <p:nvPr/>
        </p:nvSpPr>
        <p:spPr>
          <a:xfrm>
            <a:off x="808795" y="1523902"/>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1C2C3C"/>
                </a:solidFill>
                <a:effectLst/>
                <a:uLnTx/>
                <a:uFillTx/>
                <a:latin typeface="Arial" panose="020B0604020202020204"/>
                <a:ea typeface="+mn-ea"/>
                <a:cs typeface="+mn-cs"/>
              </a:rPr>
              <a:t>Vegetables</a:t>
            </a:r>
          </a:p>
        </p:txBody>
      </p:sp>
      <p:pic>
        <p:nvPicPr>
          <p:cNvPr id="25" name="Picture 2" descr="What is a Sawmill? (with pictures)">
            <a:extLst>
              <a:ext uri="{FF2B5EF4-FFF2-40B4-BE49-F238E27FC236}">
                <a16:creationId xmlns:a16="http://schemas.microsoft.com/office/drawing/2014/main" id="{267C3DE2-DC3E-36DD-2C35-74A051DC77C1}"/>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4503" t="21678" r="6734" b="13313"/>
          <a:stretch/>
        </p:blipFill>
        <p:spPr bwMode="auto">
          <a:xfrm>
            <a:off x="6977638" y="1523902"/>
            <a:ext cx="1173616" cy="571310"/>
          </a:xfrm>
          <a:prstGeom prst="rect">
            <a:avLst/>
          </a:prstGeom>
          <a:solidFill>
            <a:schemeClr val="bg1">
              <a:lumMod val="95000"/>
              <a:alpha val="52000"/>
            </a:schemeClr>
          </a:solidFill>
        </p:spPr>
      </p:pic>
      <p:pic>
        <p:nvPicPr>
          <p:cNvPr id="26" name="Picture 2" descr="10 Fascinating Facts About Crickets">
            <a:extLst>
              <a:ext uri="{FF2B5EF4-FFF2-40B4-BE49-F238E27FC236}">
                <a16:creationId xmlns:a16="http://schemas.microsoft.com/office/drawing/2014/main" id="{A247D569-B38E-AB01-AF6C-F87AE65298F8}"/>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896" t="35139" r="26697" b="16374"/>
          <a:stretch/>
        </p:blipFill>
        <p:spPr bwMode="auto">
          <a:xfrm>
            <a:off x="2042564" y="1523902"/>
            <a:ext cx="1173615" cy="57131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90">
            <a:extLst>
              <a:ext uri="{FF2B5EF4-FFF2-40B4-BE49-F238E27FC236}">
                <a16:creationId xmlns:a16="http://schemas.microsoft.com/office/drawing/2014/main" id="{9496EE1A-59DF-6172-8C6F-0CC1F35FC0D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24569" r="12499" b="11518"/>
          <a:stretch/>
        </p:blipFill>
        <p:spPr>
          <a:xfrm>
            <a:off x="5743869" y="1523902"/>
            <a:ext cx="1173616" cy="571310"/>
          </a:xfrm>
          <a:prstGeom prst="rect">
            <a:avLst/>
          </a:prstGeom>
        </p:spPr>
      </p:pic>
      <p:pic>
        <p:nvPicPr>
          <p:cNvPr id="29" name="Picture 4" descr="Semi Automatic Biodiesel Production Plant, Biotexus Energy Private Limited  | ID: 20660675248">
            <a:extLst>
              <a:ext uri="{FF2B5EF4-FFF2-40B4-BE49-F238E27FC236}">
                <a16:creationId xmlns:a16="http://schemas.microsoft.com/office/drawing/2014/main" id="{30294FE7-96F0-802A-958B-BC199EA8BACF}"/>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t="10573" r="2671" b="28283"/>
          <a:stretch/>
        </p:blipFill>
        <p:spPr bwMode="auto">
          <a:xfrm>
            <a:off x="9445168" y="1523902"/>
            <a:ext cx="1173616" cy="57131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2">
            <a:extLst>
              <a:ext uri="{FF2B5EF4-FFF2-40B4-BE49-F238E27FC236}">
                <a16:creationId xmlns:a16="http://schemas.microsoft.com/office/drawing/2014/main" id="{5DF24FC5-C241-1B82-BFCD-AEE95A81F56E}"/>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4416" t="17140" r="8532" b="14453"/>
          <a:stretch/>
        </p:blipFill>
        <p:spPr>
          <a:xfrm>
            <a:off x="8211406" y="1523902"/>
            <a:ext cx="1173611" cy="571310"/>
          </a:xfrm>
          <a:prstGeom prst="rect">
            <a:avLst/>
          </a:prstGeom>
        </p:spPr>
      </p:pic>
      <p:pic>
        <p:nvPicPr>
          <p:cNvPr id="31" name="Picture 4" descr="Business Intelligence report: Land-Based Salmon Farming: A Guide for  Investors and Industry | Intrafish">
            <a:extLst>
              <a:ext uri="{FF2B5EF4-FFF2-40B4-BE49-F238E27FC236}">
                <a16:creationId xmlns:a16="http://schemas.microsoft.com/office/drawing/2014/main" id="{5A8D3CF4-2EDD-4703-517F-909DD3F03F1F}"/>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15892" t="30327" r="4533" b="3958"/>
          <a:stretch/>
        </p:blipFill>
        <p:spPr bwMode="auto">
          <a:xfrm>
            <a:off x="4510100" y="1523902"/>
            <a:ext cx="1173616" cy="57131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94">
            <a:extLst>
              <a:ext uri="{FF2B5EF4-FFF2-40B4-BE49-F238E27FC236}">
                <a16:creationId xmlns:a16="http://schemas.microsoft.com/office/drawing/2014/main" id="{03A53697-984E-B3C9-4326-BACCCF26C90B}"/>
              </a:ext>
            </a:extLst>
          </p:cNvPr>
          <p:cNvSpPr/>
          <p:nvPr/>
        </p:nvSpPr>
        <p:spPr>
          <a:xfrm>
            <a:off x="2042563" y="1523902"/>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1C2C3C"/>
                </a:solidFill>
                <a:effectLst/>
                <a:uLnTx/>
                <a:uFillTx/>
                <a:latin typeface="Arial" panose="020B0604020202020204"/>
                <a:ea typeface="+mn-ea"/>
                <a:cs typeface="+mn-cs"/>
              </a:rPr>
              <a:t>Insects</a:t>
            </a:r>
          </a:p>
        </p:txBody>
      </p:sp>
      <p:sp>
        <p:nvSpPr>
          <p:cNvPr id="33" name="Rectangle 95">
            <a:extLst>
              <a:ext uri="{FF2B5EF4-FFF2-40B4-BE49-F238E27FC236}">
                <a16:creationId xmlns:a16="http://schemas.microsoft.com/office/drawing/2014/main" id="{400C662E-9367-FD90-96C9-89A534133CD0}"/>
              </a:ext>
            </a:extLst>
          </p:cNvPr>
          <p:cNvSpPr/>
          <p:nvPr/>
        </p:nvSpPr>
        <p:spPr>
          <a:xfrm>
            <a:off x="3288771" y="1524981"/>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nb-NO" sz="1200" b="1">
                <a:solidFill>
                  <a:srgbClr val="1C2C3C"/>
                </a:solidFill>
                <a:latin typeface="Arial" panose="020B0604020202020204"/>
              </a:rPr>
              <a:t>R</a:t>
            </a:r>
            <a:r>
              <a:rPr kumimoji="0" lang="nb-NO" sz="1200" b="1" i="0" u="none" strike="noStrike" kern="1200" cap="none" spc="0" normalizeH="0" baseline="0" noProof="0" err="1">
                <a:ln>
                  <a:noFill/>
                </a:ln>
                <a:solidFill>
                  <a:srgbClr val="1C2C3C"/>
                </a:solidFill>
                <a:effectLst/>
                <a:uLnTx/>
                <a:uFillTx/>
                <a:latin typeface="Arial" panose="020B0604020202020204"/>
                <a:ea typeface="+mn-ea"/>
                <a:cs typeface="+mn-cs"/>
              </a:rPr>
              <a:t>ecycling</a:t>
            </a:r>
            <a:r>
              <a:rPr kumimoji="0" lang="nb-NO" sz="1200" b="1" i="0" u="none" strike="noStrike" kern="1200" cap="none" spc="0" normalizeH="0" baseline="0" noProof="0">
                <a:ln>
                  <a:noFill/>
                </a:ln>
                <a:solidFill>
                  <a:srgbClr val="1C2C3C"/>
                </a:solidFill>
                <a:effectLst/>
                <a:uLnTx/>
                <a:uFillTx/>
                <a:latin typeface="Arial" panose="020B0604020202020204"/>
                <a:ea typeface="+mn-ea"/>
                <a:cs typeface="+mn-cs"/>
              </a:rPr>
              <a:t> </a:t>
            </a:r>
            <a:r>
              <a:rPr kumimoji="0" lang="nb-NO" sz="1200" b="1" i="0" u="none" strike="noStrike" kern="1200" cap="none" spc="0" normalizeH="0" baseline="0" noProof="0" err="1">
                <a:ln>
                  <a:noFill/>
                </a:ln>
                <a:solidFill>
                  <a:srgbClr val="1C2C3C"/>
                </a:solidFill>
                <a:effectLst/>
                <a:uLnTx/>
                <a:uFillTx/>
                <a:latin typeface="Arial" panose="020B0604020202020204"/>
                <a:ea typeface="+mn-ea"/>
                <a:cs typeface="+mn-cs"/>
              </a:rPr>
              <a:t>of</a:t>
            </a:r>
            <a:r>
              <a:rPr kumimoji="0" lang="nb-NO" sz="1200" b="1" i="0" u="none" strike="noStrike" kern="1200" cap="none" spc="0" normalizeH="0" baseline="0" noProof="0">
                <a:ln>
                  <a:noFill/>
                </a:ln>
                <a:solidFill>
                  <a:srgbClr val="1C2C3C"/>
                </a:solidFill>
                <a:effectLst/>
                <a:uLnTx/>
                <a:uFillTx/>
                <a:latin typeface="Arial" panose="020B0604020202020204"/>
                <a:ea typeface="+mn-ea"/>
                <a:cs typeface="+mn-cs"/>
              </a:rPr>
              <a:t> </a:t>
            </a:r>
            <a:r>
              <a:rPr kumimoji="0" lang="nb-NO" sz="1200" b="1" i="0" u="none" strike="noStrike" kern="1200" cap="none" spc="0" normalizeH="0" baseline="0" noProof="0" err="1">
                <a:ln>
                  <a:noFill/>
                </a:ln>
                <a:solidFill>
                  <a:srgbClr val="1C2C3C"/>
                </a:solidFill>
                <a:effectLst/>
                <a:uLnTx/>
                <a:uFillTx/>
                <a:latin typeface="Arial" panose="020B0604020202020204"/>
                <a:ea typeface="+mn-ea"/>
                <a:cs typeface="+mn-cs"/>
              </a:rPr>
              <a:t>clothes</a:t>
            </a:r>
            <a:endParaRPr kumimoji="0" lang="en-GB" sz="1200" b="1"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34" name="Rectangle 96">
            <a:extLst>
              <a:ext uri="{FF2B5EF4-FFF2-40B4-BE49-F238E27FC236}">
                <a16:creationId xmlns:a16="http://schemas.microsoft.com/office/drawing/2014/main" id="{18AF3366-C944-9A90-4D74-195638817C90}"/>
              </a:ext>
            </a:extLst>
          </p:cNvPr>
          <p:cNvSpPr/>
          <p:nvPr/>
        </p:nvSpPr>
        <p:spPr>
          <a:xfrm>
            <a:off x="4510098" y="1523902"/>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1C2C3C"/>
                </a:solidFill>
                <a:effectLst/>
                <a:uLnTx/>
                <a:uFillTx/>
                <a:latin typeface="Arial" panose="020B0604020202020204"/>
                <a:ea typeface="+mn-ea"/>
                <a:cs typeface="+mn-cs"/>
              </a:rPr>
              <a:t>Algae</a:t>
            </a:r>
          </a:p>
        </p:txBody>
      </p:sp>
      <p:sp>
        <p:nvSpPr>
          <p:cNvPr id="35" name="Rectangle 97">
            <a:extLst>
              <a:ext uri="{FF2B5EF4-FFF2-40B4-BE49-F238E27FC236}">
                <a16:creationId xmlns:a16="http://schemas.microsoft.com/office/drawing/2014/main" id="{AE7B2042-23F1-6B65-B829-4853F68E5ACB}"/>
              </a:ext>
            </a:extLst>
          </p:cNvPr>
          <p:cNvSpPr/>
          <p:nvPr/>
        </p:nvSpPr>
        <p:spPr>
          <a:xfrm>
            <a:off x="5743866" y="1523902"/>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nb-NO" sz="1200" b="1">
                <a:solidFill>
                  <a:srgbClr val="1C2C3C"/>
                </a:solidFill>
                <a:latin typeface="Arial" panose="020B0604020202020204"/>
              </a:rPr>
              <a:t>F</a:t>
            </a:r>
            <a:r>
              <a:rPr lang="en-GB" sz="1200" b="1" err="1">
                <a:solidFill>
                  <a:srgbClr val="1C2C3C"/>
                </a:solidFill>
                <a:latin typeface="Arial" panose="020B0604020202020204"/>
              </a:rPr>
              <a:t>ood</a:t>
            </a:r>
            <a:endParaRPr kumimoji="0" lang="en-GB" sz="1200" b="1"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36" name="Rectangle 98">
            <a:extLst>
              <a:ext uri="{FF2B5EF4-FFF2-40B4-BE49-F238E27FC236}">
                <a16:creationId xmlns:a16="http://schemas.microsoft.com/office/drawing/2014/main" id="{B420F7B1-96B1-31C1-7003-4B719D099B3C}"/>
              </a:ext>
            </a:extLst>
          </p:cNvPr>
          <p:cNvSpPr/>
          <p:nvPr/>
        </p:nvSpPr>
        <p:spPr>
          <a:xfrm>
            <a:off x="6977634" y="1523902"/>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200" b="1">
                <a:solidFill>
                  <a:srgbClr val="1C2C3C"/>
                </a:solidFill>
                <a:latin typeface="Arial" panose="020B0604020202020204"/>
              </a:rPr>
              <a:t>W</a:t>
            </a:r>
            <a:r>
              <a:rPr kumimoji="0" lang="en-GB" sz="1200" b="1" i="0" u="none" strike="noStrike" kern="1200" cap="none" spc="0" normalizeH="0" baseline="0" noProof="0" err="1">
                <a:ln>
                  <a:noFill/>
                </a:ln>
                <a:solidFill>
                  <a:srgbClr val="1C2C3C"/>
                </a:solidFill>
                <a:effectLst/>
                <a:uLnTx/>
                <a:uFillTx/>
                <a:latin typeface="Arial" panose="020B0604020202020204"/>
                <a:ea typeface="+mn-ea"/>
                <a:cs typeface="+mn-cs"/>
              </a:rPr>
              <a:t>ood</a:t>
            </a:r>
            <a:r>
              <a:rPr kumimoji="0" lang="en-GB" sz="1200" b="1" i="0" u="none" strike="noStrike" kern="1200" cap="none" spc="0" normalizeH="0" baseline="0" noProof="0">
                <a:ln>
                  <a:noFill/>
                </a:ln>
                <a:solidFill>
                  <a:srgbClr val="1C2C3C"/>
                </a:solidFill>
                <a:effectLst/>
                <a:uLnTx/>
                <a:uFillTx/>
                <a:latin typeface="Arial" panose="020B0604020202020204"/>
                <a:ea typeface="+mn-ea"/>
                <a:cs typeface="+mn-cs"/>
              </a:rPr>
              <a:t> processing</a:t>
            </a:r>
          </a:p>
        </p:txBody>
      </p:sp>
      <p:sp>
        <p:nvSpPr>
          <p:cNvPr id="37" name="Rectangle 99">
            <a:extLst>
              <a:ext uri="{FF2B5EF4-FFF2-40B4-BE49-F238E27FC236}">
                <a16:creationId xmlns:a16="http://schemas.microsoft.com/office/drawing/2014/main" id="{AC830122-417D-3464-BA70-A43F436EE301}"/>
              </a:ext>
            </a:extLst>
          </p:cNvPr>
          <p:cNvSpPr/>
          <p:nvPr/>
        </p:nvSpPr>
        <p:spPr>
          <a:xfrm>
            <a:off x="8211401" y="1523902"/>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1C2C3C"/>
                </a:solidFill>
                <a:effectLst/>
                <a:uLnTx/>
                <a:uFillTx/>
                <a:latin typeface="Arial" panose="020B0604020202020204"/>
                <a:ea typeface="+mn-ea"/>
                <a:cs typeface="+mn-cs"/>
              </a:rPr>
              <a:t>Bioplastic</a:t>
            </a:r>
          </a:p>
        </p:txBody>
      </p:sp>
      <p:sp>
        <p:nvSpPr>
          <p:cNvPr id="38" name="Rectangle 100">
            <a:extLst>
              <a:ext uri="{FF2B5EF4-FFF2-40B4-BE49-F238E27FC236}">
                <a16:creationId xmlns:a16="http://schemas.microsoft.com/office/drawing/2014/main" id="{8DE308EE-3735-CFCC-DB01-C96CEB95F080}"/>
              </a:ext>
            </a:extLst>
          </p:cNvPr>
          <p:cNvSpPr/>
          <p:nvPr/>
        </p:nvSpPr>
        <p:spPr>
          <a:xfrm>
            <a:off x="9445168" y="1523902"/>
            <a:ext cx="1173616" cy="57131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1C2C3C"/>
                </a:solidFill>
                <a:effectLst/>
                <a:uLnTx/>
                <a:uFillTx/>
                <a:latin typeface="Arial" panose="020B0604020202020204"/>
                <a:ea typeface="+mn-ea"/>
                <a:cs typeface="+mn-cs"/>
              </a:rPr>
              <a:t>Biofuel</a:t>
            </a:r>
          </a:p>
        </p:txBody>
      </p:sp>
      <p:sp>
        <p:nvSpPr>
          <p:cNvPr id="141" name="Rectangle 24625">
            <a:extLst>
              <a:ext uri="{FF2B5EF4-FFF2-40B4-BE49-F238E27FC236}">
                <a16:creationId xmlns:a16="http://schemas.microsoft.com/office/drawing/2014/main" id="{4EE86A98-F45C-FADF-0631-1E3A3DC3A0BD}"/>
              </a:ext>
            </a:extLst>
          </p:cNvPr>
          <p:cNvSpPr/>
          <p:nvPr/>
        </p:nvSpPr>
        <p:spPr>
          <a:xfrm>
            <a:off x="2601852" y="7460405"/>
            <a:ext cx="848255" cy="2774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panose="020B0604020202020204"/>
                <a:ea typeface="+mn-ea"/>
                <a:cs typeface="+mn-cs"/>
              </a:rPr>
              <a:t>Biogas</a:t>
            </a:r>
          </a:p>
        </p:txBody>
      </p:sp>
      <p:cxnSp>
        <p:nvCxnSpPr>
          <p:cNvPr id="157" name="Straight Arrow Connector 24641">
            <a:extLst>
              <a:ext uri="{FF2B5EF4-FFF2-40B4-BE49-F238E27FC236}">
                <a16:creationId xmlns:a16="http://schemas.microsoft.com/office/drawing/2014/main" id="{231A1ABB-9A8B-BE9B-96C5-7D8E7E6081AF}"/>
              </a:ext>
            </a:extLst>
          </p:cNvPr>
          <p:cNvCxnSpPr>
            <a:cxnSpLocks/>
          </p:cNvCxnSpPr>
          <p:nvPr/>
        </p:nvCxnSpPr>
        <p:spPr>
          <a:xfrm>
            <a:off x="3450811" y="7603352"/>
            <a:ext cx="540000" cy="0"/>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8" name="Rectangle 24642">
            <a:extLst>
              <a:ext uri="{FF2B5EF4-FFF2-40B4-BE49-F238E27FC236}">
                <a16:creationId xmlns:a16="http://schemas.microsoft.com/office/drawing/2014/main" id="{3F29860B-9548-FE16-6DF3-F34BC16BD6E1}"/>
              </a:ext>
            </a:extLst>
          </p:cNvPr>
          <p:cNvSpPr/>
          <p:nvPr/>
        </p:nvSpPr>
        <p:spPr>
          <a:xfrm>
            <a:off x="3366044" y="7443664"/>
            <a:ext cx="709535" cy="159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ysClr val="windowText" lastClr="000000"/>
                </a:solidFill>
                <a:effectLst/>
                <a:uLnTx/>
                <a:uFillTx/>
                <a:latin typeface="Arial" panose="020B0604020202020204"/>
                <a:ea typeface="+mn-ea"/>
                <a:cs typeface="+mn-cs"/>
              </a:rPr>
              <a:t>Biogas</a:t>
            </a:r>
          </a:p>
        </p:txBody>
      </p:sp>
      <p:sp>
        <p:nvSpPr>
          <p:cNvPr id="172" name="Rectangle 24657">
            <a:extLst>
              <a:ext uri="{FF2B5EF4-FFF2-40B4-BE49-F238E27FC236}">
                <a16:creationId xmlns:a16="http://schemas.microsoft.com/office/drawing/2014/main" id="{403FB2C2-7DCC-5D77-41EF-A6E38E69F6FF}"/>
              </a:ext>
            </a:extLst>
          </p:cNvPr>
          <p:cNvSpPr/>
          <p:nvPr/>
        </p:nvSpPr>
        <p:spPr>
          <a:xfrm>
            <a:off x="8384791" y="7460405"/>
            <a:ext cx="848255" cy="2774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panose="020B0604020202020204"/>
                <a:ea typeface="+mn-ea"/>
                <a:cs typeface="+mn-cs"/>
              </a:rPr>
              <a:t>Bioplastic</a:t>
            </a:r>
          </a:p>
        </p:txBody>
      </p:sp>
      <p:sp>
        <p:nvSpPr>
          <p:cNvPr id="195" name="Rectangle 24680">
            <a:extLst>
              <a:ext uri="{FF2B5EF4-FFF2-40B4-BE49-F238E27FC236}">
                <a16:creationId xmlns:a16="http://schemas.microsoft.com/office/drawing/2014/main" id="{46C5ABC2-BE15-AA78-DC28-26DBC636BDF1}"/>
              </a:ext>
            </a:extLst>
          </p:cNvPr>
          <p:cNvSpPr/>
          <p:nvPr/>
        </p:nvSpPr>
        <p:spPr>
          <a:xfrm>
            <a:off x="7065611" y="7536052"/>
            <a:ext cx="1953041" cy="262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ysClr val="windowText" lastClr="000000"/>
                </a:solidFill>
                <a:effectLst/>
                <a:uLnTx/>
                <a:uFillTx/>
                <a:latin typeface="Arial" panose="020B0604020202020204"/>
                <a:ea typeface="+mn-ea"/>
                <a:cs typeface="+mn-cs"/>
              </a:rPr>
              <a:t>Ingredients</a:t>
            </a:r>
          </a:p>
        </p:txBody>
      </p:sp>
      <p:cxnSp>
        <p:nvCxnSpPr>
          <p:cNvPr id="196" name="Straight Arrow Connector 24681">
            <a:extLst>
              <a:ext uri="{FF2B5EF4-FFF2-40B4-BE49-F238E27FC236}">
                <a16:creationId xmlns:a16="http://schemas.microsoft.com/office/drawing/2014/main" id="{8534E67C-0224-9DE7-58CC-E399E8723963}"/>
              </a:ext>
            </a:extLst>
          </p:cNvPr>
          <p:cNvCxnSpPr>
            <a:cxnSpLocks/>
          </p:cNvCxnSpPr>
          <p:nvPr/>
        </p:nvCxnSpPr>
        <p:spPr>
          <a:xfrm>
            <a:off x="7726506" y="7601226"/>
            <a:ext cx="658000" cy="0"/>
          </a:xfrm>
          <a:prstGeom prst="straightConnector1">
            <a:avLst/>
          </a:prstGeom>
          <a:ln w="28575">
            <a:solidFill>
              <a:srgbClr val="EB851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3" name="Rectangle 6">
            <a:extLst>
              <a:ext uri="{FF2B5EF4-FFF2-40B4-BE49-F238E27FC236}">
                <a16:creationId xmlns:a16="http://schemas.microsoft.com/office/drawing/2014/main" id="{412F1883-486C-78EE-89DA-D95A3D45BCC8}"/>
              </a:ext>
            </a:extLst>
          </p:cNvPr>
          <p:cNvSpPr/>
          <p:nvPr/>
        </p:nvSpPr>
        <p:spPr>
          <a:xfrm>
            <a:off x="834389" y="2606600"/>
            <a:ext cx="3926298" cy="261938"/>
          </a:xfrm>
          <a:prstGeom prst="rect">
            <a:avLst/>
          </a:prstGeom>
          <a:gradFill>
            <a:gsLst>
              <a:gs pos="0">
                <a:schemeClr val="bg1"/>
              </a:gs>
              <a:gs pos="97000">
                <a:schemeClr val="accent1"/>
              </a:gs>
              <a:gs pos="95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a:ln>
                  <a:noFill/>
                </a:ln>
                <a:solidFill>
                  <a:srgbClr val="00A89F"/>
                </a:solidFill>
                <a:effectLst/>
                <a:uLnTx/>
                <a:uFillTx/>
                <a:latin typeface="Arial" panose="020B0604020202020204"/>
                <a:ea typeface="+mn-ea"/>
                <a:cs typeface="+mn-cs"/>
              </a:rPr>
              <a:t>Example</a:t>
            </a:r>
            <a:r>
              <a:rPr kumimoji="0" lang="en-US" sz="1200" b="1" i="0" u="none" strike="noStrike" kern="1200" cap="none" spc="0" normalizeH="0">
                <a:ln>
                  <a:noFill/>
                </a:ln>
                <a:solidFill>
                  <a:srgbClr val="00A89F"/>
                </a:solidFill>
                <a:effectLst/>
                <a:uLnTx/>
                <a:uFillTx/>
                <a:latin typeface="Arial" panose="020B0604020202020204"/>
                <a:ea typeface="+mn-ea"/>
                <a:cs typeface="+mn-cs"/>
              </a:rPr>
              <a:t> production of fish feed</a:t>
            </a:r>
            <a:endParaRPr kumimoji="0" lang="en-US" sz="1200" b="1" i="0" u="none" strike="noStrike" kern="1200" cap="none" spc="0" normalizeH="0" baseline="0">
              <a:ln>
                <a:noFill/>
              </a:ln>
              <a:solidFill>
                <a:srgbClr val="00A89F"/>
              </a:solidFill>
              <a:effectLst/>
              <a:uLnTx/>
              <a:uFillTx/>
              <a:latin typeface="Arial" panose="020B0604020202020204"/>
              <a:ea typeface="+mn-ea"/>
              <a:cs typeface="+mn-cs"/>
            </a:endParaRPr>
          </a:p>
        </p:txBody>
      </p:sp>
      <p:sp>
        <p:nvSpPr>
          <p:cNvPr id="165" name="Rektangel 164">
            <a:extLst>
              <a:ext uri="{FF2B5EF4-FFF2-40B4-BE49-F238E27FC236}">
                <a16:creationId xmlns:a16="http://schemas.microsoft.com/office/drawing/2014/main" id="{AC20859D-04B7-0FB8-9B50-27AE80406D3B}"/>
              </a:ext>
            </a:extLst>
          </p:cNvPr>
          <p:cNvSpPr/>
          <p:nvPr/>
        </p:nvSpPr>
        <p:spPr>
          <a:xfrm>
            <a:off x="808791" y="1522259"/>
            <a:ext cx="1173620" cy="57131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67" name="Rektangel 166">
            <a:extLst>
              <a:ext uri="{FF2B5EF4-FFF2-40B4-BE49-F238E27FC236}">
                <a16:creationId xmlns:a16="http://schemas.microsoft.com/office/drawing/2014/main" id="{0B31DAF5-8A12-5EBF-7DF3-44A3E598CBB7}"/>
              </a:ext>
            </a:extLst>
          </p:cNvPr>
          <p:cNvSpPr/>
          <p:nvPr/>
        </p:nvSpPr>
        <p:spPr>
          <a:xfrm>
            <a:off x="2042560" y="1522259"/>
            <a:ext cx="1173620" cy="57131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68" name="Rektangel 167">
            <a:extLst>
              <a:ext uri="{FF2B5EF4-FFF2-40B4-BE49-F238E27FC236}">
                <a16:creationId xmlns:a16="http://schemas.microsoft.com/office/drawing/2014/main" id="{9E36E9EA-4965-008C-F949-8E3DEAF00DEE}"/>
              </a:ext>
            </a:extLst>
          </p:cNvPr>
          <p:cNvSpPr/>
          <p:nvPr/>
        </p:nvSpPr>
        <p:spPr>
          <a:xfrm>
            <a:off x="9445164" y="1536310"/>
            <a:ext cx="1173620" cy="57131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69" name="Rektangel 168">
            <a:extLst>
              <a:ext uri="{FF2B5EF4-FFF2-40B4-BE49-F238E27FC236}">
                <a16:creationId xmlns:a16="http://schemas.microsoft.com/office/drawing/2014/main" id="{128D6DE1-B534-80AF-0AD0-E6D5E94DC176}"/>
              </a:ext>
            </a:extLst>
          </p:cNvPr>
          <p:cNvSpPr/>
          <p:nvPr/>
        </p:nvSpPr>
        <p:spPr>
          <a:xfrm>
            <a:off x="5752207" y="1536310"/>
            <a:ext cx="1173620" cy="57131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70" name="Rektangel 169">
            <a:extLst>
              <a:ext uri="{FF2B5EF4-FFF2-40B4-BE49-F238E27FC236}">
                <a16:creationId xmlns:a16="http://schemas.microsoft.com/office/drawing/2014/main" id="{1C2486A4-7F9E-7656-5094-C27E328C4876}"/>
              </a:ext>
            </a:extLst>
          </p:cNvPr>
          <p:cNvSpPr/>
          <p:nvPr/>
        </p:nvSpPr>
        <p:spPr>
          <a:xfrm>
            <a:off x="4501748" y="1536310"/>
            <a:ext cx="1173620" cy="57131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pic>
        <p:nvPicPr>
          <p:cNvPr id="57" name="Bilde 56">
            <a:extLst>
              <a:ext uri="{FF2B5EF4-FFF2-40B4-BE49-F238E27FC236}">
                <a16:creationId xmlns:a16="http://schemas.microsoft.com/office/drawing/2014/main" id="{7A3D7B82-7845-B8F0-3864-031EC81024A9}"/>
              </a:ext>
            </a:extLst>
          </p:cNvPr>
          <p:cNvPicPr>
            <a:picLocks noChangeAspect="1"/>
          </p:cNvPicPr>
          <p:nvPr/>
        </p:nvPicPr>
        <p:blipFill>
          <a:blip r:embed="rId13"/>
          <a:stretch>
            <a:fillRect/>
          </a:stretch>
        </p:blipFill>
        <p:spPr>
          <a:xfrm>
            <a:off x="5238375" y="2657920"/>
            <a:ext cx="6292262" cy="3472691"/>
          </a:xfrm>
          <a:prstGeom prst="rect">
            <a:avLst/>
          </a:prstGeom>
        </p:spPr>
      </p:pic>
    </p:spTree>
    <p:extLst>
      <p:ext uri="{BB962C8B-B14F-4D97-AF65-F5344CB8AC3E}">
        <p14:creationId xmlns:p14="http://schemas.microsoft.com/office/powerpoint/2010/main" val="331616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4" grpId="0">
        <p:bldAsOne/>
      </p:bldGraphic>
      <p:bldP spid="163" grpId="0" animBg="1"/>
      <p:bldP spid="165" grpId="0" animBg="1"/>
      <p:bldP spid="167" grpId="0" animBg="1"/>
      <p:bldP spid="168" grpId="0" animBg="1"/>
      <p:bldP spid="169" grpId="0" animBg="1"/>
      <p:bldP spid="17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29120035-98A8-4C01-A9A1-E3FC4A6D6639}"/>
              </a:ext>
            </a:extLst>
          </p:cNvPr>
          <p:cNvSpPr>
            <a:spLocks noGrp="1"/>
          </p:cNvSpPr>
          <p:nvPr>
            <p:ph type="sldNum" sz="quarter" idx="12"/>
          </p:nvPr>
        </p:nvSpPr>
        <p:spPr/>
        <p:txBody>
          <a:bodyPr/>
          <a:lstStyle/>
          <a:p>
            <a:pPr>
              <a:defRPr/>
            </a:pPr>
            <a:fld id="{A57F7166-DB40-46CF-BE63-54EF233AEA61}" type="slidenum">
              <a:rPr lang="en-US" smtClean="0"/>
              <a:pPr>
                <a:defRPr/>
              </a:pPr>
              <a:t>22</a:t>
            </a:fld>
            <a:endParaRPr lang="en-US"/>
          </a:p>
        </p:txBody>
      </p:sp>
      <p:sp>
        <p:nvSpPr>
          <p:cNvPr id="6" name="Tittel 1">
            <a:extLst>
              <a:ext uri="{FF2B5EF4-FFF2-40B4-BE49-F238E27FC236}">
                <a16:creationId xmlns:a16="http://schemas.microsoft.com/office/drawing/2014/main" id="{56E5FB6F-97D8-70F7-CB40-02478E0487CC}"/>
              </a:ext>
            </a:extLst>
          </p:cNvPr>
          <p:cNvSpPr>
            <a:spLocks noGrp="1"/>
          </p:cNvSpPr>
          <p:nvPr>
            <p:ph type="title"/>
          </p:nvPr>
        </p:nvSpPr>
        <p:spPr>
          <a:xfrm>
            <a:off x="600075" y="409575"/>
            <a:ext cx="10493375" cy="481013"/>
          </a:xfrm>
        </p:spPr>
        <p:txBody>
          <a:bodyPr/>
          <a:lstStyle/>
          <a:p>
            <a:r>
              <a:rPr lang="en-US"/>
              <a:t>Example: Ecosystem – reestablishing marshland</a:t>
            </a:r>
          </a:p>
        </p:txBody>
      </p:sp>
      <p:pic>
        <p:nvPicPr>
          <p:cNvPr id="7" name="Bilde 6">
            <a:extLst>
              <a:ext uri="{FF2B5EF4-FFF2-40B4-BE49-F238E27FC236}">
                <a16:creationId xmlns:a16="http://schemas.microsoft.com/office/drawing/2014/main" id="{65D6E311-BDA2-6008-F116-B99E1801FE65}"/>
              </a:ext>
            </a:extLst>
          </p:cNvPr>
          <p:cNvPicPr>
            <a:picLocks noChangeAspect="1"/>
          </p:cNvPicPr>
          <p:nvPr/>
        </p:nvPicPr>
        <p:blipFill rotWithShape="1">
          <a:blip r:embed="rId3"/>
          <a:srcRect t="15127" b="17702"/>
          <a:stretch/>
        </p:blipFill>
        <p:spPr>
          <a:xfrm>
            <a:off x="7386102" y="1408566"/>
            <a:ext cx="3891272" cy="4615543"/>
          </a:xfrm>
          <a:prstGeom prst="rect">
            <a:avLst/>
          </a:prstGeom>
          <a:effectLst>
            <a:softEdge rad="25400"/>
          </a:effectLst>
        </p:spPr>
      </p:pic>
      <p:pic>
        <p:nvPicPr>
          <p:cNvPr id="8" name="Plassholder for innhold 7">
            <a:extLst>
              <a:ext uri="{FF2B5EF4-FFF2-40B4-BE49-F238E27FC236}">
                <a16:creationId xmlns:a16="http://schemas.microsoft.com/office/drawing/2014/main" id="{C5B177B9-DFB2-B659-4B23-525FAE134955}"/>
              </a:ext>
            </a:extLst>
          </p:cNvPr>
          <p:cNvPicPr>
            <a:picLocks noChangeAspect="1"/>
          </p:cNvPicPr>
          <p:nvPr/>
        </p:nvPicPr>
        <p:blipFill rotWithShape="1">
          <a:blip r:embed="rId4"/>
          <a:srcRect l="10515" t="55206" r="26203" b="10830"/>
          <a:stretch/>
        </p:blipFill>
        <p:spPr>
          <a:xfrm>
            <a:off x="442685" y="1408566"/>
            <a:ext cx="6057189" cy="4615543"/>
          </a:xfrm>
          <a:prstGeom prst="rect">
            <a:avLst/>
          </a:prstGeom>
          <a:ln>
            <a:noFill/>
          </a:ln>
          <a:effectLst>
            <a:softEdge rad="12700"/>
          </a:effectLst>
        </p:spPr>
      </p:pic>
      <p:sp>
        <p:nvSpPr>
          <p:cNvPr id="10" name="Arrow: Chevron 34">
            <a:extLst>
              <a:ext uri="{FF2B5EF4-FFF2-40B4-BE49-F238E27FC236}">
                <a16:creationId xmlns:a16="http://schemas.microsoft.com/office/drawing/2014/main" id="{BE1A3F03-C4DB-55ED-EBB8-CE74D947F81E}"/>
              </a:ext>
            </a:extLst>
          </p:cNvPr>
          <p:cNvSpPr/>
          <p:nvPr/>
        </p:nvSpPr>
        <p:spPr>
          <a:xfrm>
            <a:off x="6590815" y="3513147"/>
            <a:ext cx="704346" cy="845913"/>
          </a:xfrm>
          <a:prstGeom prst="chevron">
            <a:avLst>
              <a:gd name="adj" fmla="val 301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a:solidFill>
                <a:schemeClr val="tx1"/>
              </a:solidFill>
            </a:endParaRPr>
          </a:p>
        </p:txBody>
      </p:sp>
    </p:spTree>
    <p:extLst>
      <p:ext uri="{BB962C8B-B14F-4D97-AF65-F5344CB8AC3E}">
        <p14:creationId xmlns:p14="http://schemas.microsoft.com/office/powerpoint/2010/main" val="36132927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3AF99A-271E-9B4E-DF55-EA29A869F7A1}"/>
              </a:ext>
            </a:extLst>
          </p:cNvPr>
          <p:cNvSpPr>
            <a:spLocks noGrp="1"/>
          </p:cNvSpPr>
          <p:nvPr>
            <p:ph type="title"/>
          </p:nvPr>
        </p:nvSpPr>
        <p:spPr/>
        <p:txBody>
          <a:bodyPr/>
          <a:lstStyle/>
          <a:p>
            <a:r>
              <a:rPr lang="en-US"/>
              <a:t>Example: Ecosystem – biodiversity in the ocean</a:t>
            </a:r>
            <a:endParaRPr lang="en-GB"/>
          </a:p>
        </p:txBody>
      </p:sp>
      <p:pic>
        <p:nvPicPr>
          <p:cNvPr id="10" name="Content Placeholder 9">
            <a:extLst>
              <a:ext uri="{FF2B5EF4-FFF2-40B4-BE49-F238E27FC236}">
                <a16:creationId xmlns:a16="http://schemas.microsoft.com/office/drawing/2014/main" id="{4A540240-05D7-D5B4-5A93-2E451F6ED661}"/>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7794171" y="2167949"/>
            <a:ext cx="4220153" cy="3077938"/>
          </a:xfrm>
        </p:spPr>
      </p:pic>
      <p:sp>
        <p:nvSpPr>
          <p:cNvPr id="5" name="Plassholder for lysbildenummer 4">
            <a:extLst>
              <a:ext uri="{FF2B5EF4-FFF2-40B4-BE49-F238E27FC236}">
                <a16:creationId xmlns:a16="http://schemas.microsoft.com/office/drawing/2014/main" id="{A531E6E3-9686-183C-C787-868A920782D3}"/>
              </a:ext>
            </a:extLst>
          </p:cNvPr>
          <p:cNvSpPr>
            <a:spLocks noGrp="1"/>
          </p:cNvSpPr>
          <p:nvPr>
            <p:ph type="sldNum" sz="quarter" idx="12"/>
          </p:nvPr>
        </p:nvSpPr>
        <p:spPr/>
        <p:txBody>
          <a:bodyPr/>
          <a:lstStyle/>
          <a:p>
            <a:pPr>
              <a:defRPr/>
            </a:pPr>
            <a:fld id="{A57F7166-DB40-46CF-BE63-54EF233AEA61}" type="slidenum">
              <a:rPr lang="en-US" smtClean="0"/>
              <a:pPr>
                <a:defRPr/>
              </a:pPr>
              <a:t>23</a:t>
            </a:fld>
            <a:endParaRPr lang="en-US"/>
          </a:p>
        </p:txBody>
      </p:sp>
      <p:pic>
        <p:nvPicPr>
          <p:cNvPr id="1026" name="Picture 2" descr="Sandeel | NatureScot">
            <a:extLst>
              <a:ext uri="{FF2B5EF4-FFF2-40B4-BE49-F238E27FC236}">
                <a16:creationId xmlns:a16="http://schemas.microsoft.com/office/drawing/2014/main" id="{21A9678C-3D90-82F2-B2C1-7C63E356C4C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7676" y="2155359"/>
            <a:ext cx="4313155" cy="3090528"/>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7">
            <a:extLst>
              <a:ext uri="{FF2B5EF4-FFF2-40B4-BE49-F238E27FC236}">
                <a16:creationId xmlns:a16="http://schemas.microsoft.com/office/drawing/2014/main" id="{75642C46-BE98-B254-2021-D1A8BBAF7593}"/>
              </a:ext>
            </a:extLst>
          </p:cNvPr>
          <p:cNvSpPr txBox="1"/>
          <p:nvPr/>
        </p:nvSpPr>
        <p:spPr>
          <a:xfrm>
            <a:off x="214264" y="4732651"/>
            <a:ext cx="4418491" cy="461665"/>
          </a:xfrm>
          <a:prstGeom prst="rect">
            <a:avLst/>
          </a:prstGeom>
          <a:noFill/>
        </p:spPr>
        <p:txBody>
          <a:bodyPr wrap="square">
            <a:spAutoFit/>
          </a:bodyPr>
          <a:lstStyle/>
          <a:p>
            <a:r>
              <a:rPr lang="en-US" sz="1200" b="0" i="0" u="none" strike="noStrike">
                <a:solidFill>
                  <a:srgbClr val="FFFFFF"/>
                </a:solidFill>
                <a:effectLst/>
                <a:latin typeface="Arial" panose="020B0604020202020204" pitchFamily="34" charset="0"/>
              </a:rPr>
              <a:t>https://www.nature.scot/plants-animals-and-fungi/fish/sea-fish/sandeel</a:t>
            </a:r>
            <a:endParaRPr lang="en-GB" sz="1200"/>
          </a:p>
        </p:txBody>
      </p:sp>
      <p:pic>
        <p:nvPicPr>
          <p:cNvPr id="11" name="Picture 10">
            <a:extLst>
              <a:ext uri="{FF2B5EF4-FFF2-40B4-BE49-F238E27FC236}">
                <a16:creationId xmlns:a16="http://schemas.microsoft.com/office/drawing/2014/main" id="{A530A32A-B876-54C9-59A1-398C1358577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10985" y="2164246"/>
            <a:ext cx="3090528" cy="3090528"/>
          </a:xfrm>
          <a:prstGeom prst="rect">
            <a:avLst/>
          </a:prstGeom>
        </p:spPr>
      </p:pic>
      <p:sp>
        <p:nvSpPr>
          <p:cNvPr id="4" name="Oval 3">
            <a:extLst>
              <a:ext uri="{FF2B5EF4-FFF2-40B4-BE49-F238E27FC236}">
                <a16:creationId xmlns:a16="http://schemas.microsoft.com/office/drawing/2014/main" id="{D5942CEB-0437-A61D-BE29-D722BA507151}"/>
              </a:ext>
            </a:extLst>
          </p:cNvPr>
          <p:cNvSpPr/>
          <p:nvPr/>
        </p:nvSpPr>
        <p:spPr>
          <a:xfrm>
            <a:off x="8317063" y="3546281"/>
            <a:ext cx="572494" cy="4691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err="1"/>
          </a:p>
        </p:txBody>
      </p:sp>
    </p:spTree>
    <p:extLst>
      <p:ext uri="{BB962C8B-B14F-4D97-AF65-F5344CB8AC3E}">
        <p14:creationId xmlns:p14="http://schemas.microsoft.com/office/powerpoint/2010/main" val="20684748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a:solidFill>
                  <a:schemeClr val="bg1"/>
                </a:solidFill>
                <a:latin typeface="Arial"/>
                <a:cs typeface="Arial"/>
              </a:rPr>
              <a:t>Introduction to Bulk Infrastructure</a:t>
            </a:r>
            <a:endParaRPr lang="en-US" altLang="nb-NO" sz="2000">
              <a:solidFill>
                <a:schemeClr val="bg1"/>
              </a:solidFill>
              <a:cs typeface="Arial"/>
            </a:endParaRPr>
          </a:p>
          <a:p>
            <a:pPr marL="457200" indent="-457200" eaLnBrk="1" hangingPunct="1">
              <a:buAutoNum type="arabicPeriod"/>
            </a:pPr>
            <a:r>
              <a:rPr lang="en-US" altLang="nb-NO" sz="2000">
                <a:solidFill>
                  <a:schemeClr val="bg1"/>
                </a:solidFill>
                <a:latin typeface="Arial"/>
                <a:cs typeface="Arial"/>
              </a:rPr>
              <a:t>Sustainability Framework</a:t>
            </a:r>
            <a:endParaRPr lang="en-US" altLang="nb-NO" sz="2000">
              <a:solidFill>
                <a:schemeClr val="bg1"/>
              </a:solidFill>
              <a:cs typeface="Arial"/>
            </a:endParaRPr>
          </a:p>
          <a:p>
            <a:pPr marL="843280" lvl="1" indent="-457200">
              <a:buAutoNum type="alphaLcParenR"/>
            </a:pPr>
            <a:r>
              <a:rPr lang="en-US" altLang="nb-NO" sz="1600">
                <a:solidFill>
                  <a:schemeClr val="bg1"/>
                </a:solidFill>
                <a:latin typeface="Arial"/>
                <a:cs typeface="Arial"/>
              </a:rPr>
              <a:t>Location</a:t>
            </a:r>
          </a:p>
          <a:p>
            <a:pPr marL="843280" lvl="1" indent="-457200">
              <a:buAutoNum type="alphaLcParenR"/>
            </a:pPr>
            <a:r>
              <a:rPr lang="en-US" altLang="nb-NO" sz="1600">
                <a:solidFill>
                  <a:schemeClr val="bg1"/>
                </a:solidFill>
                <a:latin typeface="Arial"/>
                <a:cs typeface="Arial"/>
              </a:rPr>
              <a:t>Asset</a:t>
            </a:r>
          </a:p>
          <a:p>
            <a:pPr marL="843280" lvl="1" indent="-457200">
              <a:buAutoNum type="alphaLcParenR"/>
            </a:pPr>
            <a:r>
              <a:rPr lang="en-US" altLang="nb-NO" sz="1600">
                <a:solidFill>
                  <a:schemeClr val="bg1"/>
                </a:solidFill>
                <a:latin typeface="Arial"/>
                <a:cs typeface="Arial"/>
              </a:rPr>
              <a:t>Ecosystem</a:t>
            </a:r>
          </a:p>
          <a:p>
            <a:pPr marL="843280" lvl="1" indent="-457200">
              <a:buAutoNum type="alphaLcParenR"/>
            </a:pPr>
            <a:r>
              <a:rPr lang="en-US" altLang="nb-NO" sz="1600">
                <a:solidFill>
                  <a:schemeClr val="bg1"/>
                </a:solidFill>
                <a:latin typeface="Arial"/>
                <a:cs typeface="Arial"/>
              </a:rPr>
              <a:t>Society</a:t>
            </a:r>
          </a:p>
          <a:p>
            <a:pPr marL="457200" indent="-457200">
              <a:buAutoNum type="arabicPeriod"/>
            </a:pPr>
            <a:r>
              <a:rPr lang="en-US" altLang="nb-NO" sz="2000">
                <a:solidFill>
                  <a:schemeClr val="bg1"/>
                </a:solidFill>
                <a:latin typeface="Arial"/>
                <a:cs typeface="Arial"/>
              </a:rPr>
              <a:t>Climate Budget and reporting</a:t>
            </a:r>
            <a:endParaRPr lang="en-US">
              <a:solidFill>
                <a:schemeClr val="bg1"/>
              </a:solidFill>
            </a:endParaRPr>
          </a:p>
          <a:p>
            <a:pPr marL="457200" indent="-457200" eaLnBrk="1" hangingPunct="1">
              <a:buAutoNum type="arabicPeriod"/>
            </a:pPr>
            <a:r>
              <a:rPr lang="en-US" altLang="nb-NO" sz="2000">
                <a:solidFill>
                  <a:schemeClr val="bg1"/>
                </a:solidFill>
                <a:latin typeface="Arial"/>
                <a:cs typeface="Arial"/>
              </a:rPr>
              <a:t>Finding solutions</a:t>
            </a:r>
          </a:p>
          <a:p>
            <a:pPr marL="457200" indent="-457200" eaLnBrk="1" hangingPunct="1">
              <a:buAutoNum type="arabicPeriod"/>
            </a:pPr>
            <a:endParaRPr lang="en-US" altLang="nb-NO" sz="2000">
              <a:solidFill>
                <a:schemeClr val="bg1"/>
              </a:solidFill>
              <a:cs typeface="Arial" panose="020B0604020202020204" pitchFamily="34" charset="0"/>
            </a:endParaRPr>
          </a:p>
        </p:txBody>
      </p:sp>
      <p:sp>
        <p:nvSpPr>
          <p:cNvPr id="6" name="Rectangle 1">
            <a:extLst>
              <a:ext uri="{FF2B5EF4-FFF2-40B4-BE49-F238E27FC236}">
                <a16:creationId xmlns:a16="http://schemas.microsoft.com/office/drawing/2014/main" id="{B51EF0DE-4C1C-E2F6-96E1-D58F47B7B81E}"/>
              </a:ext>
            </a:extLst>
          </p:cNvPr>
          <p:cNvSpPr/>
          <p:nvPr/>
        </p:nvSpPr>
        <p:spPr>
          <a:xfrm>
            <a:off x="1239044" y="3943470"/>
            <a:ext cx="4190206" cy="22848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err="1"/>
          </a:p>
        </p:txBody>
      </p:sp>
    </p:spTree>
    <p:extLst>
      <p:ext uri="{BB962C8B-B14F-4D97-AF65-F5344CB8AC3E}">
        <p14:creationId xmlns:p14="http://schemas.microsoft.com/office/powerpoint/2010/main" val="24381710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53E61DD8-330B-E69C-A341-2AFBB9A2E735}"/>
              </a:ext>
            </a:extLst>
          </p:cNvPr>
          <p:cNvSpPr/>
          <p:nvPr/>
        </p:nvSpPr>
        <p:spPr>
          <a:xfrm>
            <a:off x="0" y="0"/>
            <a:ext cx="12192001" cy="12942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B9773E1C-47AE-4199-4F72-2BEE907DFAC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8DBA119-65E2-4162-B6BA-2AAAE294218B}" type="slidenum">
              <a:rPr kumimoji="0" lang="en-US"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Tittel 18">
            <a:extLst>
              <a:ext uri="{FF2B5EF4-FFF2-40B4-BE49-F238E27FC236}">
                <a16:creationId xmlns:a16="http://schemas.microsoft.com/office/drawing/2014/main" id="{77C94F42-D2BC-1848-0293-887685DCE750}"/>
              </a:ext>
            </a:extLst>
          </p:cNvPr>
          <p:cNvSpPr>
            <a:spLocks noGrp="1"/>
          </p:cNvSpPr>
          <p:nvPr>
            <p:ph type="title"/>
          </p:nvPr>
        </p:nvSpPr>
        <p:spPr>
          <a:xfrm>
            <a:off x="1674133" y="592138"/>
            <a:ext cx="10896600" cy="480131"/>
          </a:xfrm>
        </p:spPr>
        <p:txBody>
          <a:bodyPr/>
          <a:lstStyle/>
          <a:p>
            <a:r>
              <a:rPr lang="nb-NO" err="1"/>
              <a:t>Society</a:t>
            </a:r>
            <a:endParaRPr lang="nb-NO"/>
          </a:p>
        </p:txBody>
      </p:sp>
      <p:pic>
        <p:nvPicPr>
          <p:cNvPr id="5" name="Graphic 4" descr="Group outline">
            <a:extLst>
              <a:ext uri="{FF2B5EF4-FFF2-40B4-BE49-F238E27FC236}">
                <a16:creationId xmlns:a16="http://schemas.microsoft.com/office/drawing/2014/main" id="{B05FEC85-730C-A777-8479-C2A3A8BD88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049" y="290804"/>
            <a:ext cx="914400" cy="914400"/>
          </a:xfrm>
          <a:prstGeom prst="rect">
            <a:avLst/>
          </a:prstGeom>
        </p:spPr>
      </p:pic>
      <p:pic>
        <p:nvPicPr>
          <p:cNvPr id="3" name="Bilde 2">
            <a:extLst>
              <a:ext uri="{FF2B5EF4-FFF2-40B4-BE49-F238E27FC236}">
                <a16:creationId xmlns:a16="http://schemas.microsoft.com/office/drawing/2014/main" id="{EC8F936B-F58D-2590-E508-3003C6902C77}"/>
              </a:ext>
            </a:extLst>
          </p:cNvPr>
          <p:cNvPicPr>
            <a:picLocks noChangeAspect="1"/>
          </p:cNvPicPr>
          <p:nvPr/>
        </p:nvPicPr>
        <p:blipFill rotWithShape="1">
          <a:blip r:embed="rId5"/>
          <a:srcRect t="11356" b="8097"/>
          <a:stretch/>
        </p:blipFill>
        <p:spPr>
          <a:xfrm>
            <a:off x="1" y="1294284"/>
            <a:ext cx="12191999" cy="6541742"/>
          </a:xfrm>
          <a:prstGeom prst="rect">
            <a:avLst/>
          </a:prstGeom>
        </p:spPr>
      </p:pic>
      <p:sp>
        <p:nvSpPr>
          <p:cNvPr id="6" name="Rectangle: Rounded Corners 5">
            <a:extLst>
              <a:ext uri="{FF2B5EF4-FFF2-40B4-BE49-F238E27FC236}">
                <a16:creationId xmlns:a16="http://schemas.microsoft.com/office/drawing/2014/main" id="{DD99F799-83C8-33D1-36CE-93F6ECDE9AD1}"/>
              </a:ext>
            </a:extLst>
          </p:cNvPr>
          <p:cNvSpPr/>
          <p:nvPr/>
        </p:nvSpPr>
        <p:spPr>
          <a:xfrm>
            <a:off x="8486454" y="1294283"/>
            <a:ext cx="3791165" cy="180044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0" i="1">
                <a:solidFill>
                  <a:srgbClr val="1F1F1F"/>
                </a:solidFill>
                <a:effectLst/>
                <a:latin typeface="Google Sans"/>
              </a:rPr>
              <a:t>“For us, it's about integrity and the value of respect, both for the environment and for the society”</a:t>
            </a:r>
            <a:endParaRPr kumimoji="0" lang="nb-NO" sz="2000" b="0" i="1"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9341650"/>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a:solidFill>
                  <a:schemeClr val="bg1"/>
                </a:solidFill>
                <a:latin typeface="Arial"/>
                <a:cs typeface="Arial"/>
              </a:rPr>
              <a:t>Introduction to Bulk Infrastructure</a:t>
            </a:r>
            <a:endParaRPr lang="en-US" altLang="nb-NO" sz="2000">
              <a:solidFill>
                <a:schemeClr val="bg1"/>
              </a:solidFill>
              <a:cs typeface="Arial"/>
            </a:endParaRPr>
          </a:p>
          <a:p>
            <a:pPr marL="457200" indent="-457200" eaLnBrk="1" hangingPunct="1">
              <a:buAutoNum type="arabicPeriod"/>
            </a:pPr>
            <a:r>
              <a:rPr lang="en-US" altLang="nb-NO" sz="2000">
                <a:solidFill>
                  <a:schemeClr val="bg1"/>
                </a:solidFill>
                <a:latin typeface="Arial"/>
                <a:cs typeface="Arial"/>
              </a:rPr>
              <a:t>Sustainability Framework</a:t>
            </a:r>
            <a:endParaRPr lang="en-US" altLang="nb-NO" sz="2000">
              <a:solidFill>
                <a:schemeClr val="bg1"/>
              </a:solidFill>
              <a:cs typeface="Arial"/>
            </a:endParaRPr>
          </a:p>
          <a:p>
            <a:pPr marL="843280" lvl="1" indent="-457200">
              <a:buAutoNum type="alphaLcParenR"/>
            </a:pPr>
            <a:r>
              <a:rPr lang="en-US" altLang="nb-NO" sz="1600">
                <a:solidFill>
                  <a:schemeClr val="bg1"/>
                </a:solidFill>
                <a:latin typeface="Arial"/>
                <a:cs typeface="Arial"/>
              </a:rPr>
              <a:t>Location</a:t>
            </a:r>
          </a:p>
          <a:p>
            <a:pPr marL="843280" lvl="1" indent="-457200">
              <a:buAutoNum type="alphaLcParenR"/>
            </a:pPr>
            <a:r>
              <a:rPr lang="en-US" altLang="nb-NO" sz="1600">
                <a:solidFill>
                  <a:schemeClr val="bg1"/>
                </a:solidFill>
                <a:latin typeface="Arial"/>
                <a:cs typeface="Arial"/>
              </a:rPr>
              <a:t>Asset</a:t>
            </a:r>
          </a:p>
          <a:p>
            <a:pPr marL="843280" lvl="1" indent="-457200">
              <a:buAutoNum type="alphaLcParenR"/>
            </a:pPr>
            <a:r>
              <a:rPr lang="en-US" altLang="nb-NO" sz="1600">
                <a:solidFill>
                  <a:schemeClr val="bg1"/>
                </a:solidFill>
                <a:latin typeface="Arial"/>
                <a:cs typeface="Arial"/>
              </a:rPr>
              <a:t>Ecosystem</a:t>
            </a:r>
          </a:p>
          <a:p>
            <a:pPr marL="843280" lvl="1" indent="-457200">
              <a:buAutoNum type="alphaLcParenR"/>
            </a:pPr>
            <a:r>
              <a:rPr lang="en-US" altLang="nb-NO" sz="1600">
                <a:solidFill>
                  <a:schemeClr val="bg1"/>
                </a:solidFill>
                <a:latin typeface="Arial"/>
                <a:cs typeface="Arial"/>
              </a:rPr>
              <a:t>Society</a:t>
            </a:r>
          </a:p>
          <a:p>
            <a:pPr marL="457200" indent="-457200">
              <a:buAutoNum type="arabicPeriod"/>
            </a:pPr>
            <a:r>
              <a:rPr lang="en-US" altLang="nb-NO" sz="2000">
                <a:solidFill>
                  <a:schemeClr val="bg1"/>
                </a:solidFill>
                <a:latin typeface="Arial"/>
                <a:cs typeface="Arial"/>
              </a:rPr>
              <a:t>Climate Budget and reporting</a:t>
            </a:r>
            <a:endParaRPr lang="en-US">
              <a:solidFill>
                <a:schemeClr val="bg1"/>
              </a:solidFill>
            </a:endParaRPr>
          </a:p>
          <a:p>
            <a:pPr marL="457200" indent="-457200" eaLnBrk="1" hangingPunct="1">
              <a:buAutoNum type="arabicPeriod"/>
            </a:pPr>
            <a:r>
              <a:rPr lang="en-US" altLang="nb-NO" sz="2000">
                <a:solidFill>
                  <a:schemeClr val="bg1"/>
                </a:solidFill>
                <a:latin typeface="Arial"/>
                <a:cs typeface="Arial"/>
              </a:rPr>
              <a:t>Finding solutions</a:t>
            </a:r>
          </a:p>
          <a:p>
            <a:pPr marL="457200" indent="-457200" eaLnBrk="1" hangingPunct="1">
              <a:buAutoNum type="arabicPeriod"/>
            </a:pPr>
            <a:endParaRPr lang="en-US" altLang="nb-NO" sz="2000">
              <a:solidFill>
                <a:schemeClr val="bg1"/>
              </a:solidFill>
              <a:cs typeface="Arial" panose="020B0604020202020204" pitchFamily="34" charset="0"/>
            </a:endParaRPr>
          </a:p>
        </p:txBody>
      </p:sp>
      <p:sp>
        <p:nvSpPr>
          <p:cNvPr id="6" name="Rectangle 1">
            <a:extLst>
              <a:ext uri="{FF2B5EF4-FFF2-40B4-BE49-F238E27FC236}">
                <a16:creationId xmlns:a16="http://schemas.microsoft.com/office/drawing/2014/main" id="{B51EF0DE-4C1C-E2F6-96E1-D58F47B7B81E}"/>
              </a:ext>
            </a:extLst>
          </p:cNvPr>
          <p:cNvSpPr/>
          <p:nvPr/>
        </p:nvSpPr>
        <p:spPr>
          <a:xfrm>
            <a:off x="1239044" y="4162545"/>
            <a:ext cx="4952206" cy="30468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err="1"/>
          </a:p>
        </p:txBody>
      </p:sp>
    </p:spTree>
    <p:extLst>
      <p:ext uri="{BB962C8B-B14F-4D97-AF65-F5344CB8AC3E}">
        <p14:creationId xmlns:p14="http://schemas.microsoft.com/office/powerpoint/2010/main" val="15024243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24D330E5-752B-74FF-0A4E-2C1219FD9FFC}"/>
              </a:ext>
            </a:extLst>
          </p:cNvPr>
          <p:cNvSpPr>
            <a:spLocks noGrp="1"/>
          </p:cNvSpPr>
          <p:nvPr>
            <p:ph type="title"/>
          </p:nvPr>
        </p:nvSpPr>
        <p:spPr>
          <a:xfrm>
            <a:off x="1557130" y="2809860"/>
            <a:ext cx="8972481" cy="480131"/>
          </a:xfrm>
        </p:spPr>
        <p:txBody>
          <a:bodyPr/>
          <a:lstStyle/>
          <a:p>
            <a:pPr algn="ctr"/>
            <a:r>
              <a:rPr lang="en-GB"/>
              <a:t>What are your targets? Focus areas?</a:t>
            </a:r>
          </a:p>
        </p:txBody>
      </p:sp>
      <p:sp>
        <p:nvSpPr>
          <p:cNvPr id="4" name="Plassholder for lysbildenummer 3">
            <a:extLst>
              <a:ext uri="{FF2B5EF4-FFF2-40B4-BE49-F238E27FC236}">
                <a16:creationId xmlns:a16="http://schemas.microsoft.com/office/drawing/2014/main" id="{A824781B-60D5-8B1D-8727-A7C5D8EF195A}"/>
              </a:ext>
            </a:extLst>
          </p:cNvPr>
          <p:cNvSpPr>
            <a:spLocks noGrp="1"/>
          </p:cNvSpPr>
          <p:nvPr>
            <p:ph type="sldNum" sz="quarter" idx="12"/>
          </p:nvPr>
        </p:nvSpPr>
        <p:spPr/>
        <p:txBody>
          <a:bodyPr/>
          <a:lstStyle/>
          <a:p>
            <a:pPr>
              <a:defRPr/>
            </a:pPr>
            <a:fld id="{61912B51-BE89-4572-8CA0-47857B68F739}" type="slidenum">
              <a:rPr lang="en-US" smtClean="0"/>
              <a:pPr>
                <a:defRPr/>
              </a:pPr>
              <a:t>27</a:t>
            </a:fld>
            <a:endParaRPr lang="en-US"/>
          </a:p>
        </p:txBody>
      </p:sp>
      <p:sp>
        <p:nvSpPr>
          <p:cNvPr id="2" name="Plassholder for bunntekst 1">
            <a:extLst>
              <a:ext uri="{FF2B5EF4-FFF2-40B4-BE49-F238E27FC236}">
                <a16:creationId xmlns:a16="http://schemas.microsoft.com/office/drawing/2014/main" id="{E678F6A7-5405-02DD-E55E-A38158B086C2}"/>
              </a:ext>
            </a:extLst>
          </p:cNvPr>
          <p:cNvSpPr txBox="1">
            <a:spLocks/>
          </p:cNvSpPr>
          <p:nvPr/>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14485204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38B6B-4587-91D1-311E-56ABCE4BFA9F}"/>
            </a:ext>
          </a:extLst>
        </p:cNvPr>
        <p:cNvGrpSpPr/>
        <p:nvPr/>
      </p:nvGrpSpPr>
      <p:grpSpPr>
        <a:xfrm>
          <a:off x="0" y="0"/>
          <a:ext cx="0" cy="0"/>
          <a:chOff x="0" y="0"/>
          <a:chExt cx="0" cy="0"/>
        </a:xfrm>
      </p:grpSpPr>
      <p:pic>
        <p:nvPicPr>
          <p:cNvPr id="1032" name="Picture 8">
            <a:extLst>
              <a:ext uri="{FF2B5EF4-FFF2-40B4-BE49-F238E27FC236}">
                <a16:creationId xmlns:a16="http://schemas.microsoft.com/office/drawing/2014/main" id="{CA0B8E10-2392-4BAE-3679-299671D9FEC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552362" y="3518347"/>
            <a:ext cx="4521443" cy="2537543"/>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a:extLst>
              <a:ext uri="{FF2B5EF4-FFF2-40B4-BE49-F238E27FC236}">
                <a16:creationId xmlns:a16="http://schemas.microsoft.com/office/drawing/2014/main" id="{2D042DFE-1353-66FB-98BE-2C1F371CD33D}"/>
              </a:ext>
            </a:extLst>
          </p:cNvPr>
          <p:cNvSpPr>
            <a:spLocks noGrp="1"/>
          </p:cNvSpPr>
          <p:nvPr>
            <p:ph type="title"/>
          </p:nvPr>
        </p:nvSpPr>
        <p:spPr>
          <a:xfrm>
            <a:off x="600075" y="411163"/>
            <a:ext cx="10485438" cy="480131"/>
          </a:xfrm>
        </p:spPr>
        <p:txBody>
          <a:bodyPr/>
          <a:lstStyle/>
          <a:p>
            <a:r>
              <a:rPr lang="en-GB"/>
              <a:t>Our Climate Targets</a:t>
            </a:r>
          </a:p>
        </p:txBody>
      </p:sp>
      <p:pic>
        <p:nvPicPr>
          <p:cNvPr id="1026" name="Picture 2" descr="Meteorologen ber folk være obs denne uken: - Spesielt enkelte dager">
            <a:extLst>
              <a:ext uri="{FF2B5EF4-FFF2-40B4-BE49-F238E27FC236}">
                <a16:creationId xmlns:a16="http://schemas.microsoft.com/office/drawing/2014/main" id="{026C8654-7152-54EF-E0CD-EAC7E652295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9661" y="1575247"/>
            <a:ext cx="3449902" cy="1943100"/>
          </a:xfrm>
          <a:prstGeom prst="rect">
            <a:avLst/>
          </a:prstGeom>
          <a:noFill/>
          <a:extLst>
            <a:ext uri="{909E8E84-426E-40DD-AFC4-6F175D3DCCD1}">
              <a14:hiddenFill xmlns:a14="http://schemas.microsoft.com/office/drawing/2010/main">
                <a:solidFill>
                  <a:srgbClr val="FFFFFF"/>
                </a:solidFill>
              </a14:hiddenFill>
            </a:ext>
          </a:extLst>
        </p:spPr>
      </p:pic>
      <p:pic>
        <p:nvPicPr>
          <p:cNvPr id="3" name="Bilde 2">
            <a:extLst>
              <a:ext uri="{FF2B5EF4-FFF2-40B4-BE49-F238E27FC236}">
                <a16:creationId xmlns:a16="http://schemas.microsoft.com/office/drawing/2014/main" id="{2CBED0AF-6CDC-2BEE-FF6D-81534BFA3703}"/>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027847" y="1575247"/>
            <a:ext cx="2999666" cy="1966195"/>
          </a:xfrm>
          <a:prstGeom prst="rect">
            <a:avLst/>
          </a:prstGeom>
        </p:spPr>
      </p:pic>
      <p:pic>
        <p:nvPicPr>
          <p:cNvPr id="4" name="Bilde 3">
            <a:extLst>
              <a:ext uri="{FF2B5EF4-FFF2-40B4-BE49-F238E27FC236}">
                <a16:creationId xmlns:a16="http://schemas.microsoft.com/office/drawing/2014/main" id="{E9719FD8-F787-3074-68EB-F1C92A4EE8C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4741" r="20026"/>
          <a:stretch/>
        </p:blipFill>
        <p:spPr>
          <a:xfrm>
            <a:off x="3997998" y="3506715"/>
            <a:ext cx="3029515" cy="2582963"/>
          </a:xfrm>
          <a:prstGeom prst="rect">
            <a:avLst/>
          </a:prstGeom>
        </p:spPr>
      </p:pic>
      <p:sp>
        <p:nvSpPr>
          <p:cNvPr id="8" name="TekstSylinder 7">
            <a:extLst>
              <a:ext uri="{FF2B5EF4-FFF2-40B4-BE49-F238E27FC236}">
                <a16:creationId xmlns:a16="http://schemas.microsoft.com/office/drawing/2014/main" id="{C31B4541-7EF6-FD0D-D457-F48D2DF15588}"/>
              </a:ext>
            </a:extLst>
          </p:cNvPr>
          <p:cNvSpPr txBox="1"/>
          <p:nvPr/>
        </p:nvSpPr>
        <p:spPr>
          <a:xfrm>
            <a:off x="7447900" y="1575247"/>
            <a:ext cx="4711683" cy="4871334"/>
          </a:xfrm>
          <a:prstGeom prst="rect">
            <a:avLst/>
          </a:prstGeom>
          <a:noFill/>
        </p:spPr>
        <p:txBody>
          <a:bodyPr wrap="square">
            <a:spAutoFit/>
          </a:bodyPr>
          <a:lstStyle/>
          <a:p>
            <a:pPr marR="0" lvl="0" algn="l" defTabSz="914400" rtl="0" eaLnBrk="0" fontAlgn="base" latinLnBrk="0" hangingPunct="0">
              <a:lnSpc>
                <a:spcPct val="120000"/>
              </a:lnSpc>
              <a:spcBef>
                <a:spcPts val="800"/>
              </a:spcBef>
              <a:spcAft>
                <a:spcPct val="0"/>
              </a:spcAft>
              <a:buClrTx/>
              <a:buSzTx/>
              <a:tabLst/>
              <a:defRPr/>
            </a:pPr>
            <a:r>
              <a:rPr lang="en-GB">
                <a:solidFill>
                  <a:prstClr val="white"/>
                </a:solidFill>
                <a:latin typeface="Arial" panose="020B0604020202020204"/>
              </a:rPr>
              <a:t>By 2030:</a:t>
            </a:r>
          </a:p>
          <a:p>
            <a:pPr marL="356870" marR="0" lvl="0" indent="-356870" algn="l" defTabSz="914400" rtl="0" eaLnBrk="0" fontAlgn="base" latinLnBrk="0" hangingPunct="0">
              <a:lnSpc>
                <a:spcPct val="120000"/>
              </a:lnSpc>
              <a:spcBef>
                <a:spcPts val="800"/>
              </a:spcBef>
              <a:spcAft>
                <a:spcPct val="0"/>
              </a:spcAft>
              <a:buClrTx/>
              <a:buSzTx/>
              <a:buFontTx/>
              <a:buBlip>
                <a:blip r:embed="rId7"/>
              </a:buBlip>
              <a:tabLst/>
              <a:defRPr/>
            </a:pPr>
            <a:r>
              <a:rPr lang="en-GB">
                <a:solidFill>
                  <a:prstClr val="white"/>
                </a:solidFill>
                <a:latin typeface="Arial" panose="020B0604020202020204"/>
              </a:rPr>
              <a:t>Reduce our scope 1 and 2 emissions by 50 per cent</a:t>
            </a:r>
          </a:p>
          <a:p>
            <a:pPr marL="356870" marR="0" lvl="0" indent="-356870" algn="l" defTabSz="914400" rtl="0" eaLnBrk="0" fontAlgn="base" latinLnBrk="0" hangingPunct="0">
              <a:lnSpc>
                <a:spcPct val="120000"/>
              </a:lnSpc>
              <a:spcBef>
                <a:spcPts val="800"/>
              </a:spcBef>
              <a:spcAft>
                <a:spcPct val="0"/>
              </a:spcAft>
              <a:buClrTx/>
              <a:buSzTx/>
              <a:buFontTx/>
              <a:buBlip>
                <a:blip r:embed="rId7"/>
              </a:buBlip>
              <a:tabLst/>
              <a:defRPr/>
            </a:pPr>
            <a:r>
              <a:rPr lang="en-GB">
                <a:solidFill>
                  <a:prstClr val="white"/>
                </a:solidFill>
                <a:latin typeface="Arial" panose="020B0604020202020204"/>
              </a:rPr>
              <a:t>Decrease our emissions intensity by 30 per cent for scope 3.</a:t>
            </a:r>
          </a:p>
          <a:p>
            <a:pPr marR="0" lvl="0" algn="l" defTabSz="914400" rtl="0" eaLnBrk="0" fontAlgn="base" latinLnBrk="0" hangingPunct="0">
              <a:lnSpc>
                <a:spcPct val="120000"/>
              </a:lnSpc>
              <a:spcBef>
                <a:spcPts val="800"/>
              </a:spcBef>
              <a:spcAft>
                <a:spcPct val="0"/>
              </a:spcAft>
              <a:buClrTx/>
              <a:buSzTx/>
              <a:tabLst/>
              <a:defRPr/>
            </a:pPr>
            <a:endParaRPr lang="en-US">
              <a:solidFill>
                <a:prstClr val="white"/>
              </a:solidFill>
              <a:latin typeface="Arial" panose="020B0604020202020204"/>
            </a:endParaRPr>
          </a:p>
          <a:p>
            <a:pPr lvl="0">
              <a:lnSpc>
                <a:spcPct val="120000"/>
              </a:lnSpc>
              <a:spcBef>
                <a:spcPts val="800"/>
              </a:spcBef>
              <a:defRPr/>
            </a:pPr>
            <a:r>
              <a:rPr lang="en-US">
                <a:solidFill>
                  <a:prstClr val="white"/>
                </a:solidFill>
                <a:latin typeface="Arial" panose="020B0604020202020204"/>
              </a:rPr>
              <a:t>By 2050:</a:t>
            </a:r>
          </a:p>
          <a:p>
            <a:pPr marL="356870" lvl="0" indent="-356870">
              <a:lnSpc>
                <a:spcPct val="120000"/>
              </a:lnSpc>
              <a:spcBef>
                <a:spcPts val="800"/>
              </a:spcBef>
              <a:buBlip>
                <a:blip r:embed="rId7"/>
              </a:buBlip>
              <a:defRPr/>
            </a:pPr>
            <a:r>
              <a:rPr lang="en-GB">
                <a:solidFill>
                  <a:prstClr val="white"/>
                </a:solidFill>
                <a:latin typeface="Arial" panose="020B0604020202020204"/>
              </a:rPr>
              <a:t>Net-zero emissions across all scopes (1, 2, and 3) by 2050</a:t>
            </a:r>
          </a:p>
          <a:p>
            <a:pPr lvl="1">
              <a:lnSpc>
                <a:spcPct val="120000"/>
              </a:lnSpc>
              <a:spcBef>
                <a:spcPts val="800"/>
              </a:spcBef>
              <a:defRPr/>
            </a:pPr>
            <a:endParaRPr lang="en-US">
              <a:solidFill>
                <a:prstClr val="white"/>
              </a:solidFill>
              <a:latin typeface="Arial" panose="020B0604020202020204"/>
            </a:endParaRPr>
          </a:p>
          <a:p>
            <a:pPr lvl="1">
              <a:lnSpc>
                <a:spcPct val="120000"/>
              </a:lnSpc>
              <a:spcBef>
                <a:spcPts val="800"/>
              </a:spcBef>
              <a:defRPr/>
            </a:pPr>
            <a:endParaRPr lang="en-US">
              <a:solidFill>
                <a:prstClr val="white"/>
              </a:solidFill>
              <a:latin typeface="Arial" panose="020B0604020202020204"/>
            </a:endParaRPr>
          </a:p>
          <a:p>
            <a:pPr marL="814070" lvl="1" indent="-356870">
              <a:lnSpc>
                <a:spcPct val="120000"/>
              </a:lnSpc>
              <a:spcBef>
                <a:spcPts val="800"/>
              </a:spcBef>
              <a:buBlip>
                <a:blip r:embed="rId7"/>
              </a:buBlip>
              <a:defRPr/>
            </a:pPr>
            <a:endParaRPr lang="en-US">
              <a:solidFill>
                <a:prstClr val="white"/>
              </a:solidFill>
              <a:latin typeface="Arial" panose="020B0604020202020204"/>
            </a:endParaRPr>
          </a:p>
        </p:txBody>
      </p:sp>
    </p:spTree>
    <p:extLst>
      <p:ext uri="{BB962C8B-B14F-4D97-AF65-F5344CB8AC3E}">
        <p14:creationId xmlns:p14="http://schemas.microsoft.com/office/powerpoint/2010/main" val="2029083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FEF31E0-0694-B09A-6AF8-03A1BA7AAE83}"/>
              </a:ext>
            </a:extLst>
          </p:cNvPr>
          <p:cNvSpPr>
            <a:spLocks noGrp="1"/>
          </p:cNvSpPr>
          <p:nvPr>
            <p:ph type="title"/>
          </p:nvPr>
        </p:nvSpPr>
        <p:spPr>
          <a:xfrm>
            <a:off x="484530" y="424767"/>
            <a:ext cx="10485438" cy="867930"/>
          </a:xfrm>
        </p:spPr>
        <p:txBody>
          <a:bodyPr/>
          <a:lstStyle/>
          <a:p>
            <a:r>
              <a:rPr lang="nb-NO"/>
              <a:t>GHG </a:t>
            </a:r>
            <a:r>
              <a:rPr lang="nb-NO" err="1"/>
              <a:t>Protocol</a:t>
            </a:r>
            <a:r>
              <a:rPr lang="nb-NO"/>
              <a:t> – GHG </a:t>
            </a:r>
            <a:r>
              <a:rPr lang="nb-NO" err="1"/>
              <a:t>Emissions</a:t>
            </a:r>
            <a:r>
              <a:rPr lang="nb-NO"/>
              <a:t> Accounting </a:t>
            </a:r>
            <a:br>
              <a:rPr lang="en-GB" sz="2800"/>
            </a:br>
            <a:endParaRPr lang="en-GB"/>
          </a:p>
        </p:txBody>
      </p:sp>
      <p:sp>
        <p:nvSpPr>
          <p:cNvPr id="3" name="Plassholder for lysbildenummer 2">
            <a:extLst>
              <a:ext uri="{FF2B5EF4-FFF2-40B4-BE49-F238E27FC236}">
                <a16:creationId xmlns:a16="http://schemas.microsoft.com/office/drawing/2014/main" id="{2C1CF461-246E-7992-C0AA-FD7846F01C37}"/>
              </a:ext>
            </a:extLst>
          </p:cNvPr>
          <p:cNvSpPr>
            <a:spLocks noGrp="1"/>
          </p:cNvSpPr>
          <p:nvPr>
            <p:ph type="sldNum" sz="quarter" idx="12"/>
          </p:nvPr>
        </p:nvSpPr>
        <p:spPr/>
        <p:txBody>
          <a:bodyPr/>
          <a:lstStyle/>
          <a:p>
            <a:pPr>
              <a:defRPr/>
            </a:pPr>
            <a:fld id="{32203F8C-E527-4284-BDBD-1576F2B85DD2}" type="slidenum">
              <a:rPr lang="en-US" smtClean="0"/>
              <a:pPr>
                <a:defRPr/>
              </a:pPr>
              <a:t>29</a:t>
            </a:fld>
            <a:endParaRPr lang="en-US"/>
          </a:p>
        </p:txBody>
      </p:sp>
      <p:sp>
        <p:nvSpPr>
          <p:cNvPr id="7" name="Plassholder for bunntekst 1">
            <a:extLst>
              <a:ext uri="{FF2B5EF4-FFF2-40B4-BE49-F238E27FC236}">
                <a16:creationId xmlns:a16="http://schemas.microsoft.com/office/drawing/2014/main" id="{DC19EE59-ABC3-0B5A-6529-98647A0E406E}"/>
              </a:ext>
            </a:extLst>
          </p:cNvPr>
          <p:cNvSpPr txBox="1">
            <a:spLocks/>
          </p:cNvSpPr>
          <p:nvPr/>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pic>
        <p:nvPicPr>
          <p:cNvPr id="9" name="Bilde 8">
            <a:extLst>
              <a:ext uri="{FF2B5EF4-FFF2-40B4-BE49-F238E27FC236}">
                <a16:creationId xmlns:a16="http://schemas.microsoft.com/office/drawing/2014/main" id="{A9BC9C91-7B0D-95D5-0FBF-5D6B94A45887}"/>
              </a:ext>
            </a:extLst>
          </p:cNvPr>
          <p:cNvPicPr>
            <a:picLocks noChangeAspect="1"/>
          </p:cNvPicPr>
          <p:nvPr/>
        </p:nvPicPr>
        <p:blipFill>
          <a:blip r:embed="rId3"/>
          <a:stretch>
            <a:fillRect/>
          </a:stretch>
        </p:blipFill>
        <p:spPr>
          <a:xfrm>
            <a:off x="2289167" y="965694"/>
            <a:ext cx="7629533" cy="5125123"/>
          </a:xfrm>
          <a:prstGeom prst="rect">
            <a:avLst/>
          </a:prstGeom>
        </p:spPr>
      </p:pic>
      <p:sp>
        <p:nvSpPr>
          <p:cNvPr id="11" name="TekstSylinder 10">
            <a:extLst>
              <a:ext uri="{FF2B5EF4-FFF2-40B4-BE49-F238E27FC236}">
                <a16:creationId xmlns:a16="http://schemas.microsoft.com/office/drawing/2014/main" id="{0B673B6B-3AF9-F0AC-58A5-7FBF27E86327}"/>
              </a:ext>
            </a:extLst>
          </p:cNvPr>
          <p:cNvSpPr txBox="1"/>
          <p:nvPr/>
        </p:nvSpPr>
        <p:spPr>
          <a:xfrm>
            <a:off x="990600" y="6345238"/>
            <a:ext cx="6096000" cy="276999"/>
          </a:xfrm>
          <a:prstGeom prst="rect">
            <a:avLst/>
          </a:prstGeom>
          <a:noFill/>
        </p:spPr>
        <p:txBody>
          <a:bodyPr wrap="square">
            <a:spAutoFit/>
          </a:bodyPr>
          <a:lstStyle/>
          <a:p>
            <a:r>
              <a:rPr lang="en-GB" sz="1200">
                <a:solidFill>
                  <a:srgbClr val="FFFFFF"/>
                </a:solidFill>
              </a:rPr>
              <a:t>Source: https://ghgprotocol.org/</a:t>
            </a:r>
          </a:p>
        </p:txBody>
      </p:sp>
    </p:spTree>
    <p:extLst>
      <p:ext uri="{BB962C8B-B14F-4D97-AF65-F5344CB8AC3E}">
        <p14:creationId xmlns:p14="http://schemas.microsoft.com/office/powerpoint/2010/main" val="3610814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1532727"/>
          </a:xfrm>
        </p:spPr>
        <p:txBody>
          <a:bodyPr/>
          <a:lstStyle/>
          <a:p>
            <a:pPr eaLnBrk="1" hangingPunct="1"/>
            <a:r>
              <a:rPr lang="nb-NO" altLang="en-US"/>
              <a:t>Building Sustainable Digital Infrastructure</a:t>
            </a:r>
            <a:br>
              <a:rPr lang="nb-NO" altLang="en-US"/>
            </a:br>
            <a:br>
              <a:rPr lang="nb-NO" altLang="en-US"/>
            </a:br>
            <a:br>
              <a:rPr lang="nb-NO" altLang="en-US"/>
            </a:br>
            <a:r>
              <a:rPr lang="nb-NO" altLang="en-US" sz="2000">
                <a:solidFill>
                  <a:schemeClr val="bg1"/>
                </a:solidFill>
              </a:rPr>
              <a:t>Agenda</a:t>
            </a:r>
            <a:endParaRPr lang="nb-NO" altLang="en-US">
              <a:solidFill>
                <a:schemeClr val="bg1"/>
              </a:solidFill>
              <a:cs typeface="Arial" panose="020B0604020202020204"/>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dirty="0">
                <a:solidFill>
                  <a:schemeClr val="bg1"/>
                </a:solidFill>
                <a:latin typeface="Arial"/>
                <a:cs typeface="Arial"/>
              </a:rPr>
              <a:t>Introduction to Bulk Infrastructure</a:t>
            </a:r>
            <a:endParaRPr lang="en-US" altLang="nb-NO" sz="2000" dirty="0">
              <a:solidFill>
                <a:schemeClr val="bg1"/>
              </a:solidFill>
              <a:cs typeface="Arial"/>
            </a:endParaRPr>
          </a:p>
          <a:p>
            <a:pPr marL="457200" indent="-457200" eaLnBrk="1" hangingPunct="1">
              <a:buAutoNum type="arabicPeriod"/>
            </a:pPr>
            <a:r>
              <a:rPr lang="en-US" altLang="nb-NO" sz="2000" dirty="0">
                <a:solidFill>
                  <a:schemeClr val="bg1"/>
                </a:solidFill>
                <a:latin typeface="Arial"/>
                <a:cs typeface="Arial"/>
              </a:rPr>
              <a:t>Sustainability Framework</a:t>
            </a:r>
            <a:endParaRPr lang="en-US" altLang="nb-NO" sz="2000" dirty="0">
              <a:solidFill>
                <a:schemeClr val="bg1"/>
              </a:solidFill>
              <a:cs typeface="Arial"/>
            </a:endParaRPr>
          </a:p>
          <a:p>
            <a:pPr marL="1243330" lvl="2" indent="-457200">
              <a:buAutoNum type="alphaLcParenR"/>
            </a:pPr>
            <a:r>
              <a:rPr lang="en-US" altLang="nb-NO" sz="1600" dirty="0">
                <a:solidFill>
                  <a:schemeClr val="bg1"/>
                </a:solidFill>
                <a:latin typeface="Arial"/>
                <a:cs typeface="Arial"/>
              </a:rPr>
              <a:t>Location</a:t>
            </a:r>
          </a:p>
          <a:p>
            <a:pPr marL="1243330" lvl="2" indent="-457200">
              <a:buAutoNum type="alphaLcParenR"/>
            </a:pPr>
            <a:r>
              <a:rPr lang="en-US" altLang="nb-NO" sz="1600" dirty="0">
                <a:solidFill>
                  <a:schemeClr val="bg1"/>
                </a:solidFill>
                <a:latin typeface="Arial"/>
                <a:cs typeface="Arial"/>
              </a:rPr>
              <a:t>Asset</a:t>
            </a:r>
          </a:p>
          <a:p>
            <a:pPr marL="1243330" lvl="2" indent="-457200">
              <a:buAutoNum type="alphaLcParenR"/>
            </a:pPr>
            <a:r>
              <a:rPr lang="en-US" altLang="nb-NO" sz="1600" dirty="0">
                <a:solidFill>
                  <a:schemeClr val="bg1"/>
                </a:solidFill>
                <a:latin typeface="Arial"/>
                <a:cs typeface="Arial"/>
              </a:rPr>
              <a:t>Ecosystem</a:t>
            </a:r>
          </a:p>
          <a:p>
            <a:pPr marL="1243330" lvl="2" indent="-457200">
              <a:buAutoNum type="alphaLcParenR"/>
            </a:pPr>
            <a:r>
              <a:rPr lang="en-US" altLang="nb-NO" sz="1600" dirty="0">
                <a:solidFill>
                  <a:schemeClr val="bg1"/>
                </a:solidFill>
                <a:latin typeface="Arial"/>
                <a:cs typeface="Arial"/>
              </a:rPr>
              <a:t>Society</a:t>
            </a:r>
          </a:p>
          <a:p>
            <a:pPr marL="457200" indent="-457200">
              <a:buAutoNum type="arabicPeriod"/>
            </a:pPr>
            <a:r>
              <a:rPr lang="en-US" altLang="nb-NO" sz="2000" dirty="0">
                <a:solidFill>
                  <a:schemeClr val="bg1"/>
                </a:solidFill>
                <a:latin typeface="Arial"/>
                <a:cs typeface="Arial"/>
              </a:rPr>
              <a:t>Climate Budget and reporting</a:t>
            </a:r>
            <a:endParaRPr lang="en-US" dirty="0">
              <a:solidFill>
                <a:schemeClr val="bg1"/>
              </a:solidFill>
            </a:endParaRPr>
          </a:p>
          <a:p>
            <a:pPr marL="457200" indent="-457200" eaLnBrk="1" hangingPunct="1">
              <a:buAutoNum type="arabicPeriod"/>
            </a:pPr>
            <a:r>
              <a:rPr lang="en-US" altLang="nb-NO" sz="2000" dirty="0">
                <a:solidFill>
                  <a:schemeClr val="bg1"/>
                </a:solidFill>
                <a:latin typeface="Arial"/>
                <a:cs typeface="Arial"/>
              </a:rPr>
              <a:t>Finding solutions</a:t>
            </a:r>
          </a:p>
          <a:p>
            <a:pPr marL="457200" indent="-457200" eaLnBrk="1" hangingPunct="1">
              <a:buAutoNum type="arabicPeriod"/>
            </a:pPr>
            <a:endParaRPr lang="en-US" altLang="nb-NO" sz="2000" dirty="0">
              <a:solidFill>
                <a:schemeClr val="bg1"/>
              </a:solidFill>
              <a:cs typeface="Arial" panose="020B0604020202020204" pitchFamily="34" charset="0"/>
            </a:endParaRPr>
          </a:p>
        </p:txBody>
      </p:sp>
    </p:spTree>
    <p:extLst>
      <p:ext uri="{BB962C8B-B14F-4D97-AF65-F5344CB8AC3E}">
        <p14:creationId xmlns:p14="http://schemas.microsoft.com/office/powerpoint/2010/main" val="42110120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37972-7582-142D-B9BD-9D60B0E29486}"/>
            </a:ext>
          </a:extLst>
        </p:cNvPr>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97A629BA-468C-CDB2-23B0-4C335BBAA886}"/>
              </a:ext>
            </a:extLst>
          </p:cNvPr>
          <p:cNvSpPr>
            <a:spLocks noGrp="1"/>
          </p:cNvSpPr>
          <p:nvPr>
            <p:ph type="sldNum" sz="quarter" idx="12"/>
          </p:nvPr>
        </p:nvSpPr>
        <p:spPr/>
        <p:txBody>
          <a:bodyPr/>
          <a:lstStyle/>
          <a:p>
            <a:pPr>
              <a:defRPr/>
            </a:pPr>
            <a:fld id="{32203F8C-E527-4284-BDBD-1576F2B85DD2}" type="slidenum">
              <a:rPr lang="en-US" smtClean="0"/>
              <a:pPr>
                <a:defRPr/>
              </a:pPr>
              <a:t>30</a:t>
            </a:fld>
            <a:endParaRPr lang="en-US"/>
          </a:p>
        </p:txBody>
      </p:sp>
      <p:pic>
        <p:nvPicPr>
          <p:cNvPr id="5" name="Bilde 4">
            <a:extLst>
              <a:ext uri="{FF2B5EF4-FFF2-40B4-BE49-F238E27FC236}">
                <a16:creationId xmlns:a16="http://schemas.microsoft.com/office/drawing/2014/main" id="{853BCF79-245D-CA7E-671E-BBA4B988E21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404812" y="238738"/>
            <a:ext cx="1070785" cy="824273"/>
          </a:xfrm>
          <a:prstGeom prst="rect">
            <a:avLst/>
          </a:prstGeom>
          <a:noFill/>
          <a:ln w="19050" cap="rnd">
            <a:noFill/>
            <a:miter lim="800000"/>
            <a:headEnd/>
            <a:tailEnd/>
          </a:ln>
          <a:extLst>
            <a:ext uri="{909E8E84-426E-40DD-AFC4-6F175D3DCCD1}">
              <a14:hiddenFill xmlns:a14="http://schemas.microsoft.com/office/drawing/2010/main">
                <a:solidFill>
                  <a:srgbClr val="FFFFFF"/>
                </a:solidFill>
              </a14:hiddenFill>
            </a:ext>
          </a:extLst>
        </p:spPr>
      </p:pic>
      <p:sp>
        <p:nvSpPr>
          <p:cNvPr id="7" name="Plassholder for bunntekst 1">
            <a:extLst>
              <a:ext uri="{FF2B5EF4-FFF2-40B4-BE49-F238E27FC236}">
                <a16:creationId xmlns:a16="http://schemas.microsoft.com/office/drawing/2014/main" id="{CEE20814-4749-0DDA-E8D8-38C5872E8A82}"/>
              </a:ext>
            </a:extLst>
          </p:cNvPr>
          <p:cNvSpPr txBox="1">
            <a:spLocks/>
          </p:cNvSpPr>
          <p:nvPr/>
        </p:nvSpPr>
        <p:spPr>
          <a:xfrm>
            <a:off x="4038600" y="6345238"/>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
        <p:nvSpPr>
          <p:cNvPr id="2" name="Tittel 1">
            <a:extLst>
              <a:ext uri="{FF2B5EF4-FFF2-40B4-BE49-F238E27FC236}">
                <a16:creationId xmlns:a16="http://schemas.microsoft.com/office/drawing/2014/main" id="{BB73B7CB-6A63-7180-4616-72483F71AF0B}"/>
              </a:ext>
            </a:extLst>
          </p:cNvPr>
          <p:cNvSpPr>
            <a:spLocks noGrp="1"/>
          </p:cNvSpPr>
          <p:nvPr>
            <p:ph type="title"/>
          </p:nvPr>
        </p:nvSpPr>
        <p:spPr>
          <a:xfrm>
            <a:off x="1867015" y="435653"/>
            <a:ext cx="10485438" cy="867930"/>
          </a:xfrm>
        </p:spPr>
        <p:txBody>
          <a:bodyPr/>
          <a:lstStyle/>
          <a:p>
            <a:r>
              <a:rPr lang="nb-NO" sz="2800"/>
              <a:t>Bulk Data Centers – GHG </a:t>
            </a:r>
            <a:r>
              <a:rPr lang="nb-NO" sz="2800" err="1"/>
              <a:t>Emissions</a:t>
            </a:r>
            <a:r>
              <a:rPr lang="nb-NO" sz="2800"/>
              <a:t> 2024</a:t>
            </a:r>
            <a:br>
              <a:rPr lang="en-GB" sz="2800"/>
            </a:br>
            <a:endParaRPr lang="en-GB"/>
          </a:p>
        </p:txBody>
      </p:sp>
      <p:pic>
        <p:nvPicPr>
          <p:cNvPr id="43" name="Picture 42" descr="A screenshot of a computer&#10;&#10;AI-generated content may be incorrect.">
            <a:extLst>
              <a:ext uri="{FF2B5EF4-FFF2-40B4-BE49-F238E27FC236}">
                <a16:creationId xmlns:a16="http://schemas.microsoft.com/office/drawing/2014/main" id="{AADD48B6-F784-9781-8FDC-EA534E928B1A}"/>
              </a:ext>
            </a:extLst>
          </p:cNvPr>
          <p:cNvPicPr>
            <a:picLocks noChangeAspect="1"/>
          </p:cNvPicPr>
          <p:nvPr/>
        </p:nvPicPr>
        <p:blipFill>
          <a:blip r:embed="rId4"/>
          <a:stretch>
            <a:fillRect/>
          </a:stretch>
        </p:blipFill>
        <p:spPr>
          <a:xfrm>
            <a:off x="1867015" y="962183"/>
            <a:ext cx="8246851" cy="5219652"/>
          </a:xfrm>
          <a:prstGeom prst="rect">
            <a:avLst/>
          </a:prstGeom>
        </p:spPr>
      </p:pic>
    </p:spTree>
    <p:extLst>
      <p:ext uri="{BB962C8B-B14F-4D97-AF65-F5344CB8AC3E}">
        <p14:creationId xmlns:p14="http://schemas.microsoft.com/office/powerpoint/2010/main" val="3695575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2D080B-BAFB-684F-A688-1989EB900CEE}"/>
              </a:ext>
            </a:extLst>
          </p:cNvPr>
          <p:cNvSpPr>
            <a:spLocks noGrp="1"/>
          </p:cNvSpPr>
          <p:nvPr>
            <p:ph type="title"/>
          </p:nvPr>
        </p:nvSpPr>
        <p:spPr/>
        <p:txBody>
          <a:bodyPr/>
          <a:lstStyle/>
          <a:p>
            <a:r>
              <a:rPr lang="en-GB"/>
              <a:t>Climate Budgeting – a pathway to achieving ambitions</a:t>
            </a:r>
          </a:p>
        </p:txBody>
      </p:sp>
      <p:sp>
        <p:nvSpPr>
          <p:cNvPr id="3" name="Plassholder for innhold 2">
            <a:extLst>
              <a:ext uri="{FF2B5EF4-FFF2-40B4-BE49-F238E27FC236}">
                <a16:creationId xmlns:a16="http://schemas.microsoft.com/office/drawing/2014/main" id="{EA947B30-4924-AC4C-B3FC-F72E1EE7E063}"/>
              </a:ext>
            </a:extLst>
          </p:cNvPr>
          <p:cNvSpPr>
            <a:spLocks noGrp="1"/>
          </p:cNvSpPr>
          <p:nvPr>
            <p:ph idx="1"/>
          </p:nvPr>
        </p:nvSpPr>
        <p:spPr>
          <a:xfrm>
            <a:off x="533399" y="2413686"/>
            <a:ext cx="5430625" cy="2391811"/>
          </a:xfrm>
        </p:spPr>
        <p:txBody>
          <a:bodyPr/>
          <a:lstStyle/>
          <a:p>
            <a:r>
              <a:rPr lang="en-GB"/>
              <a:t>Providing a pathway to achieving climate targets linking targets with key areas for emissions reductions </a:t>
            </a:r>
          </a:p>
          <a:p>
            <a:r>
              <a:rPr lang="en-GB"/>
              <a:t>Building credibility in the market and the finance sector by providing a plan to report on progress</a:t>
            </a:r>
          </a:p>
          <a:p>
            <a:r>
              <a:rPr lang="en-GB"/>
              <a:t>A tool for internal and external communication of emission reduction ambitions and targets – aligned with emerging demands and expectations</a:t>
            </a:r>
          </a:p>
          <a:p>
            <a:endParaRPr lang="en-GB"/>
          </a:p>
        </p:txBody>
      </p:sp>
      <p:pic>
        <p:nvPicPr>
          <p:cNvPr id="6" name="Bilde 5" descr="Et bilde som inneholder himmel, utendørs, dag&#10;&#10;Automatisk generert beskrivelse">
            <a:extLst>
              <a:ext uri="{FF2B5EF4-FFF2-40B4-BE49-F238E27FC236}">
                <a16:creationId xmlns:a16="http://schemas.microsoft.com/office/drawing/2014/main" id="{118CADD7-6264-136F-32C4-92E283F00D5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25243" y="1799253"/>
            <a:ext cx="5633358" cy="3755572"/>
          </a:xfrm>
          <a:prstGeom prst="rect">
            <a:avLst/>
          </a:prstGeom>
        </p:spPr>
      </p:pic>
      <p:sp>
        <p:nvSpPr>
          <p:cNvPr id="4" name="Plassholder for bunntekst 1">
            <a:extLst>
              <a:ext uri="{FF2B5EF4-FFF2-40B4-BE49-F238E27FC236}">
                <a16:creationId xmlns:a16="http://schemas.microsoft.com/office/drawing/2014/main" id="{DE8875F5-E8E5-D0C0-E648-E63E27440732}"/>
              </a:ext>
            </a:extLst>
          </p:cNvPr>
          <p:cNvSpPr txBox="1">
            <a:spLocks/>
          </p:cNvSpPr>
          <p:nvPr/>
        </p:nvSpPr>
        <p:spPr>
          <a:xfrm>
            <a:off x="4038600" y="6447979"/>
            <a:ext cx="4114800" cy="32269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20104311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92121-2328-F1C6-0A86-AD4CB3FD88A7}"/>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7D76B18B-36CF-5028-010B-060A95A4FB01}"/>
              </a:ext>
            </a:extLst>
          </p:cNvPr>
          <p:cNvSpPr>
            <a:spLocks noGrp="1"/>
          </p:cNvSpPr>
          <p:nvPr>
            <p:ph type="title"/>
          </p:nvPr>
        </p:nvSpPr>
        <p:spPr>
          <a:xfrm>
            <a:off x="600075" y="400278"/>
            <a:ext cx="10485438" cy="479425"/>
          </a:xfrm>
        </p:spPr>
        <p:txBody>
          <a:bodyPr/>
          <a:lstStyle/>
          <a:p>
            <a:r>
              <a:rPr lang="en-GB"/>
              <a:t>Bulk’s identified climate-related risks and opportunities</a:t>
            </a:r>
          </a:p>
        </p:txBody>
      </p:sp>
      <p:sp>
        <p:nvSpPr>
          <p:cNvPr id="5" name="Content Placeholder 4">
            <a:extLst>
              <a:ext uri="{FF2B5EF4-FFF2-40B4-BE49-F238E27FC236}">
                <a16:creationId xmlns:a16="http://schemas.microsoft.com/office/drawing/2014/main" id="{77322E6F-261F-6B66-1AA2-7392D2ADB51B}"/>
              </a:ext>
            </a:extLst>
          </p:cNvPr>
          <p:cNvSpPr>
            <a:spLocks noGrp="1"/>
          </p:cNvSpPr>
          <p:nvPr>
            <p:ph idx="1"/>
          </p:nvPr>
        </p:nvSpPr>
        <p:spPr>
          <a:xfrm>
            <a:off x="869384" y="1328820"/>
            <a:ext cx="4973410" cy="5160387"/>
          </a:xfrm>
        </p:spPr>
        <p:txBody>
          <a:bodyPr/>
          <a:lstStyle/>
          <a:p>
            <a:pPr marL="356870" indent="-356870"/>
            <a:r>
              <a:rPr lang="en-US">
                <a:cs typeface="Arial"/>
              </a:rPr>
              <a:t>Transitional</a:t>
            </a:r>
          </a:p>
          <a:p>
            <a:pPr marL="715645" lvl="1" indent="-356870"/>
            <a:r>
              <a:rPr lang="en-US">
                <a:cs typeface="Arial"/>
              </a:rPr>
              <a:t>Opportunities</a:t>
            </a:r>
          </a:p>
          <a:p>
            <a:pPr marL="1006475" lvl="2" indent="-285750">
              <a:buFont typeface="Wingdings" panose="05000000000000000000" pitchFamily="2" charset="2"/>
              <a:buChar char="§"/>
            </a:pPr>
            <a:r>
              <a:rPr lang="en-GB">
                <a:cs typeface="Arial"/>
              </a:rPr>
              <a:t>Increased market opportunities due to access to renewable energy</a:t>
            </a:r>
          </a:p>
          <a:p>
            <a:pPr marL="1006475" lvl="2" indent="-285750">
              <a:buFont typeface="Wingdings" panose="05000000000000000000" pitchFamily="2" charset="2"/>
              <a:buChar char="§"/>
            </a:pPr>
            <a:r>
              <a:rPr lang="en-GB">
                <a:cs typeface="Arial"/>
              </a:rPr>
              <a:t>Increased market opportunities due to growing customer demand for climate-resilient and low-carbon digital infra-structure</a:t>
            </a:r>
          </a:p>
          <a:p>
            <a:pPr marL="1006475" lvl="2" indent="-285750">
              <a:buFont typeface="Wingdings" panose="05000000000000000000" pitchFamily="2" charset="2"/>
              <a:buChar char="§"/>
            </a:pPr>
            <a:r>
              <a:rPr lang="en-GB">
                <a:cs typeface="Arial"/>
              </a:rPr>
              <a:t>Green and sustainable financing</a:t>
            </a:r>
          </a:p>
          <a:p>
            <a:pPr marL="1006475" lvl="2" indent="-285750">
              <a:buFont typeface="Wingdings" panose="05000000000000000000" pitchFamily="2" charset="2"/>
              <a:buChar char="§"/>
            </a:pPr>
            <a:r>
              <a:rPr lang="en-GB">
                <a:cs typeface="Arial"/>
              </a:rPr>
              <a:t>Advancing technologies</a:t>
            </a:r>
          </a:p>
          <a:p>
            <a:pPr marL="720725" lvl="2" indent="0">
              <a:buNone/>
            </a:pPr>
            <a:endParaRPr lang="en-US">
              <a:cs typeface="Arial"/>
            </a:endParaRPr>
          </a:p>
          <a:p>
            <a:pPr marL="715645" lvl="1" indent="-356870"/>
            <a:r>
              <a:rPr lang="en-US">
                <a:cs typeface="Arial"/>
              </a:rPr>
              <a:t>Risks</a:t>
            </a:r>
          </a:p>
          <a:p>
            <a:pPr marL="1006475" lvl="2" indent="-285750">
              <a:buFont typeface="Wingdings" panose="05000000000000000000" pitchFamily="2" charset="2"/>
              <a:buChar char="§"/>
            </a:pPr>
            <a:r>
              <a:rPr lang="en-GB">
                <a:cs typeface="Arial"/>
              </a:rPr>
              <a:t>Stricter land use regulations</a:t>
            </a:r>
          </a:p>
          <a:p>
            <a:pPr marL="1006475" lvl="2" indent="-285750">
              <a:buFont typeface="Wingdings" panose="05000000000000000000" pitchFamily="2" charset="2"/>
              <a:buChar char="§"/>
            </a:pPr>
            <a:r>
              <a:rPr lang="en-GB">
                <a:cs typeface="Arial"/>
              </a:rPr>
              <a:t>Changes in climate-related regulations</a:t>
            </a:r>
          </a:p>
          <a:p>
            <a:pPr marL="715645" lvl="1" indent="-356870"/>
            <a:endParaRPr lang="en-US">
              <a:cs typeface="Arial"/>
            </a:endParaRPr>
          </a:p>
          <a:p>
            <a:pPr marL="715645" lvl="1" indent="-356870"/>
            <a:endParaRPr lang="en-US">
              <a:cs typeface="Arial"/>
            </a:endParaRPr>
          </a:p>
        </p:txBody>
      </p:sp>
      <p:sp>
        <p:nvSpPr>
          <p:cNvPr id="3" name="Plassholder for bunntekst 1">
            <a:extLst>
              <a:ext uri="{FF2B5EF4-FFF2-40B4-BE49-F238E27FC236}">
                <a16:creationId xmlns:a16="http://schemas.microsoft.com/office/drawing/2014/main" id="{DAE2CBD7-07F3-02B2-1BD6-E888CCB38B13}"/>
              </a:ext>
            </a:extLst>
          </p:cNvPr>
          <p:cNvSpPr txBox="1">
            <a:spLocks/>
          </p:cNvSpPr>
          <p:nvPr/>
        </p:nvSpPr>
        <p:spPr>
          <a:xfrm>
            <a:off x="4038600" y="6447979"/>
            <a:ext cx="4114800" cy="32269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b-NO" sz="1200" b="0" i="0" u="none" strike="noStrike" kern="1200" cap="none" spc="0" normalizeH="0" baseline="0" noProof="0">
                <a:ln>
                  <a:noFill/>
                </a:ln>
                <a:solidFill>
                  <a:srgbClr val="F2F2F2"/>
                </a:solidFill>
                <a:effectLst/>
                <a:uLnTx/>
                <a:uFillTx/>
                <a:latin typeface="Arial" panose="020B0604020202020204" pitchFamily="34" charset="0"/>
                <a:ea typeface="+mn-ea"/>
                <a:cs typeface="+mn-cs"/>
              </a:rPr>
              <a:t>Public</a:t>
            </a:r>
            <a:endParaRPr kumimoji="0" lang="en-GB" sz="1200" b="0" i="0" u="none" strike="noStrike" kern="1200" cap="none" spc="0" normalizeH="0" baseline="0" noProof="0">
              <a:ln>
                <a:noFill/>
              </a:ln>
              <a:solidFill>
                <a:srgbClr val="F2F2F2"/>
              </a:solidFill>
              <a:effectLst/>
              <a:uLnTx/>
              <a:uFillTx/>
              <a:latin typeface="Arial" panose="020B0604020202020204" pitchFamily="34" charset="0"/>
              <a:ea typeface="+mn-ea"/>
              <a:cs typeface="+mn-cs"/>
            </a:endParaRPr>
          </a:p>
        </p:txBody>
      </p:sp>
      <p:sp>
        <p:nvSpPr>
          <p:cNvPr id="8" name="Content Placeholder 4">
            <a:extLst>
              <a:ext uri="{FF2B5EF4-FFF2-40B4-BE49-F238E27FC236}">
                <a16:creationId xmlns:a16="http://schemas.microsoft.com/office/drawing/2014/main" id="{11C6F095-4A9A-F318-6A22-F6714DF02433}"/>
              </a:ext>
            </a:extLst>
          </p:cNvPr>
          <p:cNvSpPr txBox="1">
            <a:spLocks/>
          </p:cNvSpPr>
          <p:nvPr/>
        </p:nvSpPr>
        <p:spPr bwMode="auto">
          <a:xfrm>
            <a:off x="6349206" y="1356998"/>
            <a:ext cx="497341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57188" indent="-357188" algn="l" rtl="0" eaLnBrk="0" fontAlgn="base" hangingPunct="0">
              <a:spcBef>
                <a:spcPts val="800"/>
              </a:spcBef>
              <a:spcAft>
                <a:spcPct val="0"/>
              </a:spcAft>
              <a:buBlip>
                <a:blip r:embed="rId3"/>
              </a:buBlip>
              <a:defRPr sz="1600" kern="1200">
                <a:solidFill>
                  <a:schemeClr val="bg1"/>
                </a:solidFill>
                <a:latin typeface="+mn-lt"/>
                <a:ea typeface="+mn-ea"/>
                <a:cs typeface="+mn-cs"/>
              </a:defRPr>
            </a:lvl1pPr>
            <a:lvl2pPr marL="715963"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2pPr>
            <a:lvl3pPr marL="1077913" indent="-361950"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3pPr>
            <a:lvl4pPr marL="1435100" indent="-357188"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4pPr>
            <a:lvl5pPr marL="1793875" indent="-358775" algn="l" rtl="0" eaLnBrk="0" fontAlgn="base" hangingPunct="0">
              <a:spcBef>
                <a:spcPts val="800"/>
              </a:spcBef>
              <a:spcAft>
                <a:spcPct val="0"/>
              </a:spcAft>
              <a:buClr>
                <a:schemeClr val="accent1"/>
              </a:buClr>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6870" indent="-356870"/>
            <a:r>
              <a:rPr lang="en-US">
                <a:cs typeface="Arial"/>
              </a:rPr>
              <a:t>Physical</a:t>
            </a:r>
          </a:p>
          <a:p>
            <a:pPr marL="715645" lvl="1" indent="-356870"/>
            <a:r>
              <a:rPr lang="en-US">
                <a:cs typeface="Arial"/>
              </a:rPr>
              <a:t>Risks</a:t>
            </a:r>
          </a:p>
          <a:p>
            <a:pPr marL="1077595" lvl="2" indent="-356870">
              <a:buFont typeface="Wingdings" panose="05000000000000000000" pitchFamily="2" charset="2"/>
              <a:buChar char="§"/>
            </a:pPr>
            <a:r>
              <a:rPr lang="en-GB">
                <a:cs typeface="Arial"/>
              </a:rPr>
              <a:t>Intense rainfall and ground instability</a:t>
            </a:r>
          </a:p>
          <a:p>
            <a:pPr marL="1077595" lvl="2" indent="-356870">
              <a:buFont typeface="Wingdings" panose="05000000000000000000" pitchFamily="2" charset="2"/>
              <a:buChar char="§"/>
            </a:pPr>
            <a:r>
              <a:rPr lang="en-GB">
                <a:cs typeface="Arial"/>
              </a:rPr>
              <a:t>Wildfires</a:t>
            </a:r>
            <a:endParaRPr lang="en-US">
              <a:cs typeface="Arial"/>
            </a:endParaRPr>
          </a:p>
        </p:txBody>
      </p:sp>
      <p:pic>
        <p:nvPicPr>
          <p:cNvPr id="9" name="Picture 8">
            <a:extLst>
              <a:ext uri="{FF2B5EF4-FFF2-40B4-BE49-F238E27FC236}">
                <a16:creationId xmlns:a16="http://schemas.microsoft.com/office/drawing/2014/main" id="{9BE93E2C-1E21-7DD7-AAA9-362AEE9AFCF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4929" b="5529"/>
          <a:stretch/>
        </p:blipFill>
        <p:spPr>
          <a:xfrm>
            <a:off x="6745319" y="3219288"/>
            <a:ext cx="4935874" cy="2569472"/>
          </a:xfrm>
          <a:prstGeom prst="rect">
            <a:avLst/>
          </a:prstGeom>
        </p:spPr>
      </p:pic>
    </p:spTree>
    <p:extLst>
      <p:ext uri="{BB962C8B-B14F-4D97-AF65-F5344CB8AC3E}">
        <p14:creationId xmlns:p14="http://schemas.microsoft.com/office/powerpoint/2010/main" val="32224002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F18B3B4-E5B1-1D90-7ADF-729EC81DE30D}"/>
              </a:ext>
            </a:extLst>
          </p:cNvPr>
          <p:cNvSpPr>
            <a:spLocks noGrp="1"/>
          </p:cNvSpPr>
          <p:nvPr>
            <p:ph type="title"/>
          </p:nvPr>
        </p:nvSpPr>
        <p:spPr>
          <a:xfrm>
            <a:off x="600075" y="411163"/>
            <a:ext cx="10485438" cy="480131"/>
          </a:xfrm>
        </p:spPr>
        <p:txBody>
          <a:bodyPr/>
          <a:lstStyle/>
          <a:p>
            <a:r>
              <a:rPr lang="en-GB"/>
              <a:t>Looking Ahead - Focus Areas </a:t>
            </a:r>
          </a:p>
        </p:txBody>
      </p:sp>
      <p:sp>
        <p:nvSpPr>
          <p:cNvPr id="8" name="TekstSylinder 7">
            <a:extLst>
              <a:ext uri="{FF2B5EF4-FFF2-40B4-BE49-F238E27FC236}">
                <a16:creationId xmlns:a16="http://schemas.microsoft.com/office/drawing/2014/main" id="{DB5105DB-0F35-F1BB-1676-2E594539503B}"/>
              </a:ext>
            </a:extLst>
          </p:cNvPr>
          <p:cNvSpPr txBox="1"/>
          <p:nvPr/>
        </p:nvSpPr>
        <p:spPr>
          <a:xfrm>
            <a:off x="5842794" y="1506762"/>
            <a:ext cx="6127083" cy="6073714"/>
          </a:xfrm>
          <a:prstGeom prst="rect">
            <a:avLst/>
          </a:prstGeom>
          <a:noFill/>
        </p:spPr>
        <p:txBody>
          <a:bodyPr wrap="square">
            <a:spAutoFit/>
          </a:bodyPr>
          <a:lstStyle/>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endParaRPr lang="en-US">
              <a:solidFill>
                <a:prstClr val="white"/>
              </a:solidFill>
              <a:latin typeface="Arial" panose="020B0604020202020204"/>
            </a:endParaRPr>
          </a:p>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r>
              <a:rPr lang="en-US">
                <a:solidFill>
                  <a:prstClr val="white"/>
                </a:solidFill>
                <a:latin typeface="Arial" panose="020B0604020202020204"/>
              </a:rPr>
              <a:t>Continuous improvement of GHG emissions accounting (Scope 3 value chain emissions)</a:t>
            </a:r>
          </a:p>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r>
              <a:rPr lang="en-US">
                <a:solidFill>
                  <a:prstClr val="white"/>
                </a:solidFill>
                <a:latin typeface="Arial" panose="020B0604020202020204"/>
              </a:rPr>
              <a:t>Further developing our CSRD-aligned double-materiality assessment</a:t>
            </a:r>
          </a:p>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r>
              <a:rPr lang="en-US">
                <a:solidFill>
                  <a:prstClr val="white"/>
                </a:solidFill>
                <a:latin typeface="Arial" panose="020B0604020202020204"/>
              </a:rPr>
              <a:t>Ensuring sustainability-related impacts, risks and opportunity management remains a fully integrated part of our business</a:t>
            </a:r>
          </a:p>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r>
              <a:rPr lang="en-US">
                <a:solidFill>
                  <a:prstClr val="white"/>
                </a:solidFill>
                <a:latin typeface="Arial" panose="020B0604020202020204"/>
              </a:rPr>
              <a:t>Climate Budgeting</a:t>
            </a:r>
          </a:p>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r>
              <a:rPr lang="en-US">
                <a:solidFill>
                  <a:prstClr val="white"/>
                </a:solidFill>
                <a:latin typeface="Arial" panose="020B0604020202020204"/>
              </a:rPr>
              <a:t>Assessing Applicability of EU Taxonomy</a:t>
            </a:r>
          </a:p>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endParaRPr lang="en-US">
              <a:solidFill>
                <a:prstClr val="white"/>
              </a:solidFill>
              <a:latin typeface="Arial" panose="020B0604020202020204"/>
            </a:endParaRPr>
          </a:p>
          <a:p>
            <a:pPr marL="356870" marR="0" lvl="0" indent="-356870" algn="l" defTabSz="914400" rtl="0" eaLnBrk="0" fontAlgn="base" latinLnBrk="0" hangingPunct="0">
              <a:lnSpc>
                <a:spcPct val="120000"/>
              </a:lnSpc>
              <a:spcBef>
                <a:spcPts val="800"/>
              </a:spcBef>
              <a:spcAft>
                <a:spcPct val="0"/>
              </a:spcAft>
              <a:buClrTx/>
              <a:buSzTx/>
              <a:buFontTx/>
              <a:buBlip>
                <a:blip r:embed="rId3"/>
              </a:buBlip>
              <a:tabLst/>
              <a:defRPr/>
            </a:pPr>
            <a:endParaRPr lang="en-US">
              <a:solidFill>
                <a:prstClr val="white"/>
              </a:solidFill>
              <a:latin typeface="Arial" panose="020B0604020202020204"/>
            </a:endParaRPr>
          </a:p>
          <a:p>
            <a:pPr lvl="1">
              <a:lnSpc>
                <a:spcPct val="120000"/>
              </a:lnSpc>
              <a:spcBef>
                <a:spcPts val="800"/>
              </a:spcBef>
              <a:defRPr/>
            </a:pPr>
            <a:endParaRPr lang="en-US">
              <a:solidFill>
                <a:prstClr val="white"/>
              </a:solidFill>
              <a:latin typeface="Arial" panose="020B0604020202020204"/>
            </a:endParaRPr>
          </a:p>
          <a:p>
            <a:pPr lvl="1">
              <a:lnSpc>
                <a:spcPct val="120000"/>
              </a:lnSpc>
              <a:spcBef>
                <a:spcPts val="800"/>
              </a:spcBef>
              <a:defRPr/>
            </a:pPr>
            <a:endParaRPr lang="en-US">
              <a:solidFill>
                <a:prstClr val="white"/>
              </a:solidFill>
              <a:latin typeface="Arial" panose="020B0604020202020204"/>
            </a:endParaRPr>
          </a:p>
          <a:p>
            <a:pPr marL="814070" lvl="1" indent="-356870">
              <a:lnSpc>
                <a:spcPct val="120000"/>
              </a:lnSpc>
              <a:spcBef>
                <a:spcPts val="800"/>
              </a:spcBef>
              <a:buBlip>
                <a:blip r:embed="rId3"/>
              </a:buBlip>
              <a:defRPr/>
            </a:pPr>
            <a:endParaRPr lang="en-US">
              <a:solidFill>
                <a:prstClr val="white"/>
              </a:solidFill>
              <a:latin typeface="Arial" panose="020B0604020202020204"/>
            </a:endParaRPr>
          </a:p>
        </p:txBody>
      </p:sp>
      <p:pic>
        <p:nvPicPr>
          <p:cNvPr id="13" name="Picture 12" descr="Two men wearing reflective jackets and helmets&#10;&#10;AI-generated content may be incorrect.">
            <a:extLst>
              <a:ext uri="{FF2B5EF4-FFF2-40B4-BE49-F238E27FC236}">
                <a16:creationId xmlns:a16="http://schemas.microsoft.com/office/drawing/2014/main" id="{25539FF3-9319-3BBF-D63C-BAD79A923A23}"/>
              </a:ext>
            </a:extLst>
          </p:cNvPr>
          <p:cNvPicPr>
            <a:picLocks noChangeAspect="1"/>
          </p:cNvPicPr>
          <p:nvPr/>
        </p:nvPicPr>
        <p:blipFill>
          <a:blip r:embed="rId4"/>
          <a:stretch>
            <a:fillRect/>
          </a:stretch>
        </p:blipFill>
        <p:spPr>
          <a:xfrm>
            <a:off x="901118" y="1303562"/>
            <a:ext cx="4663981" cy="4570018"/>
          </a:xfrm>
          <a:prstGeom prst="rect">
            <a:avLst/>
          </a:prstGeom>
        </p:spPr>
      </p:pic>
    </p:spTree>
    <p:extLst>
      <p:ext uri="{BB962C8B-B14F-4D97-AF65-F5344CB8AC3E}">
        <p14:creationId xmlns:p14="http://schemas.microsoft.com/office/powerpoint/2010/main" val="38720063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a:solidFill>
                  <a:schemeClr val="bg1"/>
                </a:solidFill>
                <a:latin typeface="Arial"/>
                <a:cs typeface="Arial"/>
              </a:rPr>
              <a:t>Introduction to Bulk Infrastructure</a:t>
            </a:r>
            <a:endParaRPr lang="en-US" altLang="nb-NO" sz="2000">
              <a:solidFill>
                <a:schemeClr val="bg1"/>
              </a:solidFill>
              <a:cs typeface="Arial"/>
            </a:endParaRPr>
          </a:p>
          <a:p>
            <a:pPr marL="457200" indent="-457200" eaLnBrk="1" hangingPunct="1">
              <a:buAutoNum type="arabicPeriod"/>
            </a:pPr>
            <a:r>
              <a:rPr lang="en-US" altLang="nb-NO" sz="2000">
                <a:solidFill>
                  <a:schemeClr val="bg1"/>
                </a:solidFill>
                <a:latin typeface="Arial"/>
                <a:cs typeface="Arial"/>
              </a:rPr>
              <a:t>Sustainability Framework</a:t>
            </a:r>
            <a:endParaRPr lang="en-US" altLang="nb-NO" sz="2000">
              <a:solidFill>
                <a:schemeClr val="bg1"/>
              </a:solidFill>
              <a:cs typeface="Arial"/>
            </a:endParaRPr>
          </a:p>
          <a:p>
            <a:pPr marL="843280" lvl="1" indent="-457200">
              <a:buAutoNum type="alphaLcParenR"/>
            </a:pPr>
            <a:r>
              <a:rPr lang="en-US" altLang="nb-NO" sz="1600">
                <a:solidFill>
                  <a:schemeClr val="bg1"/>
                </a:solidFill>
                <a:latin typeface="Arial"/>
                <a:cs typeface="Arial"/>
              </a:rPr>
              <a:t>Location</a:t>
            </a:r>
          </a:p>
          <a:p>
            <a:pPr marL="843280" lvl="1" indent="-457200">
              <a:buAutoNum type="alphaLcParenR"/>
            </a:pPr>
            <a:r>
              <a:rPr lang="en-US" altLang="nb-NO" sz="1600">
                <a:solidFill>
                  <a:schemeClr val="bg1"/>
                </a:solidFill>
                <a:latin typeface="Arial"/>
                <a:cs typeface="Arial"/>
              </a:rPr>
              <a:t>Asset</a:t>
            </a:r>
          </a:p>
          <a:p>
            <a:pPr marL="843280" lvl="1" indent="-457200">
              <a:buAutoNum type="alphaLcParenR"/>
            </a:pPr>
            <a:r>
              <a:rPr lang="en-US" altLang="nb-NO" sz="1600">
                <a:solidFill>
                  <a:schemeClr val="bg1"/>
                </a:solidFill>
                <a:latin typeface="Arial"/>
                <a:cs typeface="Arial"/>
              </a:rPr>
              <a:t>Ecosystem</a:t>
            </a:r>
          </a:p>
          <a:p>
            <a:pPr marL="843280" lvl="1" indent="-457200">
              <a:buAutoNum type="alphaLcParenR"/>
            </a:pPr>
            <a:r>
              <a:rPr lang="en-US" altLang="nb-NO" sz="1600">
                <a:solidFill>
                  <a:schemeClr val="bg1"/>
                </a:solidFill>
                <a:latin typeface="Arial"/>
                <a:cs typeface="Arial"/>
              </a:rPr>
              <a:t>Society</a:t>
            </a:r>
          </a:p>
          <a:p>
            <a:pPr marL="457200" indent="-457200">
              <a:buAutoNum type="arabicPeriod"/>
            </a:pPr>
            <a:r>
              <a:rPr lang="en-US" altLang="nb-NO" sz="2000">
                <a:solidFill>
                  <a:schemeClr val="bg1"/>
                </a:solidFill>
                <a:latin typeface="Arial"/>
                <a:cs typeface="Arial"/>
              </a:rPr>
              <a:t>Climate Budget and reporting</a:t>
            </a:r>
            <a:endParaRPr lang="en-US">
              <a:solidFill>
                <a:schemeClr val="bg1"/>
              </a:solidFill>
            </a:endParaRPr>
          </a:p>
          <a:p>
            <a:pPr marL="457200" indent="-457200" eaLnBrk="1" hangingPunct="1">
              <a:buAutoNum type="arabicPeriod"/>
            </a:pPr>
            <a:r>
              <a:rPr lang="en-US" altLang="nb-NO" sz="2000">
                <a:solidFill>
                  <a:schemeClr val="bg1"/>
                </a:solidFill>
                <a:latin typeface="Arial"/>
                <a:cs typeface="Arial"/>
              </a:rPr>
              <a:t>Finding solutions</a:t>
            </a:r>
          </a:p>
          <a:p>
            <a:pPr marL="457200" indent="-457200" eaLnBrk="1" hangingPunct="1">
              <a:buAutoNum type="arabicPeriod"/>
            </a:pPr>
            <a:endParaRPr lang="en-US" altLang="nb-NO" sz="2000">
              <a:solidFill>
                <a:schemeClr val="bg1"/>
              </a:solidFill>
              <a:cs typeface="Arial" panose="020B0604020202020204" pitchFamily="34" charset="0"/>
            </a:endParaRPr>
          </a:p>
        </p:txBody>
      </p:sp>
      <p:sp>
        <p:nvSpPr>
          <p:cNvPr id="3" name="Rectangle 1">
            <a:extLst>
              <a:ext uri="{FF2B5EF4-FFF2-40B4-BE49-F238E27FC236}">
                <a16:creationId xmlns:a16="http://schemas.microsoft.com/office/drawing/2014/main" id="{E6E782EA-3DAB-ACF7-2C90-B88C20F84F15}"/>
              </a:ext>
            </a:extLst>
          </p:cNvPr>
          <p:cNvSpPr/>
          <p:nvPr/>
        </p:nvSpPr>
        <p:spPr>
          <a:xfrm>
            <a:off x="1239044" y="4457820"/>
            <a:ext cx="4952206" cy="30468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err="1"/>
          </a:p>
        </p:txBody>
      </p:sp>
    </p:spTree>
    <p:extLst>
      <p:ext uri="{BB962C8B-B14F-4D97-AF65-F5344CB8AC3E}">
        <p14:creationId xmlns:p14="http://schemas.microsoft.com/office/powerpoint/2010/main" val="29532952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5185564-D1AF-EF03-9289-1AA14C0314F4}"/>
              </a:ext>
            </a:extLst>
          </p:cNvPr>
          <p:cNvSpPr>
            <a:spLocks noGrp="1"/>
          </p:cNvSpPr>
          <p:nvPr>
            <p:ph type="title"/>
          </p:nvPr>
        </p:nvSpPr>
        <p:spPr/>
        <p:txBody>
          <a:bodyPr/>
          <a:lstStyle/>
          <a:p>
            <a:r>
              <a:rPr lang="nb-NO" dirty="0"/>
              <a:t>Digital </a:t>
            </a:r>
            <a:r>
              <a:rPr lang="nb-NO" dirty="0" err="1"/>
              <a:t>Infrastructure</a:t>
            </a:r>
            <a:r>
              <a:rPr lang="nb-NO" dirty="0"/>
              <a:t> is part </a:t>
            </a:r>
            <a:r>
              <a:rPr lang="nb-NO" dirty="0" err="1"/>
              <a:t>of</a:t>
            </a:r>
            <a:r>
              <a:rPr lang="nb-NO" dirty="0"/>
              <a:t> </a:t>
            </a:r>
            <a:r>
              <a:rPr lang="nb-NO" dirty="0" err="1"/>
              <a:t>the</a:t>
            </a:r>
            <a:r>
              <a:rPr lang="nb-NO" dirty="0"/>
              <a:t> </a:t>
            </a:r>
            <a:r>
              <a:rPr lang="nb-NO" dirty="0" err="1"/>
              <a:t>solution</a:t>
            </a:r>
            <a:endParaRPr lang="nb-NO" dirty="0"/>
          </a:p>
        </p:txBody>
      </p:sp>
      <p:sp>
        <p:nvSpPr>
          <p:cNvPr id="3" name="Plassholder for innhold 2">
            <a:extLst>
              <a:ext uri="{FF2B5EF4-FFF2-40B4-BE49-F238E27FC236}">
                <a16:creationId xmlns:a16="http://schemas.microsoft.com/office/drawing/2014/main" id="{2E384516-BFD3-B4F6-E4BB-A11A12FBA500}"/>
              </a:ext>
            </a:extLst>
          </p:cNvPr>
          <p:cNvSpPr>
            <a:spLocks noGrp="1"/>
          </p:cNvSpPr>
          <p:nvPr>
            <p:ph idx="1"/>
          </p:nvPr>
        </p:nvSpPr>
        <p:spPr/>
        <p:txBody>
          <a:bodyPr>
            <a:normAutofit/>
          </a:bodyPr>
          <a:lstStyle/>
          <a:p>
            <a:r>
              <a:rPr lang="en-US" sz="1600">
                <a:solidFill>
                  <a:schemeClr val="tx2"/>
                </a:solidFill>
              </a:rPr>
              <a:t>100% backup with generators plus a production unit in reserve</a:t>
            </a:r>
            <a:br>
              <a:rPr lang="en-US" sz="1600">
                <a:solidFill>
                  <a:schemeClr val="tx2"/>
                </a:solidFill>
              </a:rPr>
            </a:br>
            <a:endParaRPr lang="en-US" sz="1600">
              <a:solidFill>
                <a:schemeClr val="tx2"/>
              </a:solidFill>
            </a:endParaRPr>
          </a:p>
          <a:p>
            <a:r>
              <a:rPr lang="en-US" sz="1600">
                <a:solidFill>
                  <a:schemeClr val="tx2"/>
                </a:solidFill>
              </a:rPr>
              <a:t>Battery bank that can operate the center for 6-10 minutes at maximum load during sudden outages or disconnections from the grid</a:t>
            </a:r>
            <a:br>
              <a:rPr lang="en-US" sz="1600">
                <a:solidFill>
                  <a:schemeClr val="tx2"/>
                </a:solidFill>
              </a:rPr>
            </a:br>
            <a:endParaRPr lang="nb-NO" sz="1600">
              <a:solidFill>
                <a:schemeClr val="tx2"/>
              </a:solidFill>
            </a:endParaRPr>
          </a:p>
          <a:p>
            <a:r>
              <a:rPr lang="en-US" sz="1600">
                <a:solidFill>
                  <a:schemeClr val="tx2"/>
                </a:solidFill>
              </a:rPr>
              <a:t>Data centers have counter-cyclical power consumption. Much of the power consumption in a data center is for cooling, so consumption is highest in the summer</a:t>
            </a:r>
            <a:endParaRPr lang="nb-NO" sz="1600">
              <a:solidFill>
                <a:schemeClr val="tx2"/>
              </a:solidFill>
            </a:endParaRPr>
          </a:p>
        </p:txBody>
      </p:sp>
      <p:sp>
        <p:nvSpPr>
          <p:cNvPr id="5" name="Plassholder for innhold 4">
            <a:extLst>
              <a:ext uri="{FF2B5EF4-FFF2-40B4-BE49-F238E27FC236}">
                <a16:creationId xmlns:a16="http://schemas.microsoft.com/office/drawing/2014/main" id="{DAF8E197-38E0-2108-9304-A0ACBB7E7D66}"/>
              </a:ext>
            </a:extLst>
          </p:cNvPr>
          <p:cNvSpPr>
            <a:spLocks noGrp="1"/>
          </p:cNvSpPr>
          <p:nvPr>
            <p:ph sz="quarter" idx="16"/>
          </p:nvPr>
        </p:nvSpPr>
        <p:spPr/>
        <p:txBody>
          <a:bodyPr/>
          <a:lstStyle/>
          <a:p>
            <a:r>
              <a:rPr lang="en-US" sz="1400"/>
              <a:t>A large part of a data center's investment and land use is for generators and batteries</a:t>
            </a:r>
            <a:endParaRPr lang="nb-NO" sz="1400"/>
          </a:p>
        </p:txBody>
      </p:sp>
      <p:sp>
        <p:nvSpPr>
          <p:cNvPr id="6" name="Plassholder for innhold 5">
            <a:extLst>
              <a:ext uri="{FF2B5EF4-FFF2-40B4-BE49-F238E27FC236}">
                <a16:creationId xmlns:a16="http://schemas.microsoft.com/office/drawing/2014/main" id="{27240D96-4B56-EAC4-1FC3-030E13B2DC80}"/>
              </a:ext>
            </a:extLst>
          </p:cNvPr>
          <p:cNvSpPr>
            <a:spLocks noGrp="1"/>
          </p:cNvSpPr>
          <p:nvPr>
            <p:ph sz="quarter" idx="17"/>
          </p:nvPr>
        </p:nvSpPr>
        <p:spPr/>
        <p:txBody>
          <a:bodyPr/>
          <a:lstStyle/>
          <a:p>
            <a:r>
              <a:rPr lang="en-US"/>
              <a:t>Data centers can offer flexibility</a:t>
            </a:r>
            <a:endParaRPr lang="nb-NO"/>
          </a:p>
        </p:txBody>
      </p:sp>
      <p:pic>
        <p:nvPicPr>
          <p:cNvPr id="7" name="Picture 22">
            <a:extLst>
              <a:ext uri="{FF2B5EF4-FFF2-40B4-BE49-F238E27FC236}">
                <a16:creationId xmlns:a16="http://schemas.microsoft.com/office/drawing/2014/main" id="{FB71018F-FF90-C448-5F28-6F02FAE66115}"/>
              </a:ext>
            </a:extLst>
          </p:cNvPr>
          <p:cNvPicPr>
            <a:picLocks noGrp="1" noChangeAspect="1"/>
          </p:cNvPicPr>
          <p:nvPr>
            <p:ph idx="14"/>
          </p:nvPr>
        </p:nvPicPr>
        <p:blipFill>
          <a:blip r:embed="rId3" cstate="screen">
            <a:extLst>
              <a:ext uri="{28A0092B-C50C-407E-A947-70E740481C1C}">
                <a14:useLocalDpi xmlns:a14="http://schemas.microsoft.com/office/drawing/2010/main"/>
              </a:ext>
            </a:extLst>
          </a:blip>
          <a:stretch>
            <a:fillRect/>
          </a:stretch>
        </p:blipFill>
        <p:spPr>
          <a:xfrm>
            <a:off x="600075" y="1898898"/>
            <a:ext cx="7345363" cy="4131766"/>
          </a:xfrm>
          <a:prstGeom prst="rect">
            <a:avLst/>
          </a:prstGeom>
          <a:ln>
            <a:solidFill>
              <a:srgbClr val="0070C0"/>
            </a:solidFill>
          </a:ln>
        </p:spPr>
      </p:pic>
      <p:sp>
        <p:nvSpPr>
          <p:cNvPr id="8" name="Ellipse 7">
            <a:extLst>
              <a:ext uri="{FF2B5EF4-FFF2-40B4-BE49-F238E27FC236}">
                <a16:creationId xmlns:a16="http://schemas.microsoft.com/office/drawing/2014/main" id="{473D8562-8475-A89C-13E1-21BF6C46C126}"/>
              </a:ext>
            </a:extLst>
          </p:cNvPr>
          <p:cNvSpPr/>
          <p:nvPr/>
        </p:nvSpPr>
        <p:spPr>
          <a:xfrm rot="20806742">
            <a:off x="850415" y="2115439"/>
            <a:ext cx="985760" cy="2891602"/>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0" name="Ellipse 9">
            <a:extLst>
              <a:ext uri="{FF2B5EF4-FFF2-40B4-BE49-F238E27FC236}">
                <a16:creationId xmlns:a16="http://schemas.microsoft.com/office/drawing/2014/main" id="{E0F1108A-A437-387D-7177-8A77F0582459}"/>
              </a:ext>
            </a:extLst>
          </p:cNvPr>
          <p:cNvSpPr/>
          <p:nvPr/>
        </p:nvSpPr>
        <p:spPr>
          <a:xfrm rot="17401115">
            <a:off x="5703104" y="786240"/>
            <a:ext cx="367346" cy="3728001"/>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cxnSp>
        <p:nvCxnSpPr>
          <p:cNvPr id="12" name="Rett pilkobling 11">
            <a:extLst>
              <a:ext uri="{FF2B5EF4-FFF2-40B4-BE49-F238E27FC236}">
                <a16:creationId xmlns:a16="http://schemas.microsoft.com/office/drawing/2014/main" id="{56E203A3-BD59-6448-DDCC-3AB0071B8E5E}"/>
              </a:ext>
            </a:extLst>
          </p:cNvPr>
          <p:cNvCxnSpPr>
            <a:cxnSpLocks/>
            <a:endCxn id="10" idx="4"/>
          </p:cNvCxnSpPr>
          <p:nvPr/>
        </p:nvCxnSpPr>
        <p:spPr>
          <a:xfrm flipH="1" flipV="1">
            <a:off x="7638158" y="3288334"/>
            <a:ext cx="64491" cy="2145481"/>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Rett pilkobling 13">
            <a:extLst>
              <a:ext uri="{FF2B5EF4-FFF2-40B4-BE49-F238E27FC236}">
                <a16:creationId xmlns:a16="http://schemas.microsoft.com/office/drawing/2014/main" id="{5CFCF6D5-A33E-E8EB-682D-54D3D231B327}"/>
              </a:ext>
            </a:extLst>
          </p:cNvPr>
          <p:cNvCxnSpPr>
            <a:cxnSpLocks/>
            <a:stCxn id="23" idx="1"/>
            <a:endCxn id="8" idx="4"/>
          </p:cNvCxnSpPr>
          <p:nvPr/>
        </p:nvCxnSpPr>
        <p:spPr>
          <a:xfrm flipH="1" flipV="1">
            <a:off x="1673960" y="4968720"/>
            <a:ext cx="3957965" cy="763520"/>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 name="TekstSylinder 16">
            <a:extLst>
              <a:ext uri="{FF2B5EF4-FFF2-40B4-BE49-F238E27FC236}">
                <a16:creationId xmlns:a16="http://schemas.microsoft.com/office/drawing/2014/main" id="{191A08EC-699B-B551-8EA7-07FF3396504D}"/>
              </a:ext>
            </a:extLst>
          </p:cNvPr>
          <p:cNvSpPr txBox="1"/>
          <p:nvPr/>
        </p:nvSpPr>
        <p:spPr>
          <a:xfrm>
            <a:off x="6693290" y="5042479"/>
            <a:ext cx="877163" cy="338554"/>
          </a:xfrm>
          <a:prstGeom prst="rect">
            <a:avLst/>
          </a:prstGeom>
          <a:noFill/>
          <a:ln w="25400">
            <a:solidFill>
              <a:srgbClr val="0070C0"/>
            </a:solid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600" b="0" i="0" u="none" strike="noStrike" kern="1200" cap="none" spc="0" normalizeH="0" baseline="0" noProof="0" err="1">
                <a:ln>
                  <a:noFill/>
                </a:ln>
                <a:solidFill>
                  <a:srgbClr val="1C2C3C"/>
                </a:solidFill>
                <a:effectLst/>
                <a:uLnTx/>
                <a:uFillTx/>
                <a:latin typeface="Arial" panose="020B0604020202020204" pitchFamily="34" charset="0"/>
                <a:ea typeface="+mn-ea"/>
                <a:cs typeface="+mn-cs"/>
              </a:rPr>
              <a:t>Cooling</a:t>
            </a:r>
            <a:endParaRPr kumimoji="0" lang="nb-NO" sz="1600" b="0" i="0" u="none" strike="noStrike" kern="1200" cap="none" spc="0" normalizeH="0" baseline="0" noProof="0">
              <a:ln>
                <a:noFill/>
              </a:ln>
              <a:solidFill>
                <a:srgbClr val="1C2C3C"/>
              </a:solidFill>
              <a:effectLst/>
              <a:uLnTx/>
              <a:uFillTx/>
              <a:latin typeface="Arial" panose="020B0604020202020204" pitchFamily="34" charset="0"/>
              <a:ea typeface="+mn-ea"/>
              <a:cs typeface="+mn-cs"/>
            </a:endParaRPr>
          </a:p>
        </p:txBody>
      </p:sp>
      <p:sp>
        <p:nvSpPr>
          <p:cNvPr id="23" name="TekstSylinder 22">
            <a:extLst>
              <a:ext uri="{FF2B5EF4-FFF2-40B4-BE49-F238E27FC236}">
                <a16:creationId xmlns:a16="http://schemas.microsoft.com/office/drawing/2014/main" id="{383260D8-6685-A550-74D1-B9373B1FBE0C}"/>
              </a:ext>
            </a:extLst>
          </p:cNvPr>
          <p:cNvSpPr txBox="1"/>
          <p:nvPr/>
        </p:nvSpPr>
        <p:spPr>
          <a:xfrm>
            <a:off x="5631925" y="5439852"/>
            <a:ext cx="2081687" cy="584775"/>
          </a:xfrm>
          <a:prstGeom prst="rect">
            <a:avLst/>
          </a:prstGeom>
          <a:noFill/>
          <a:ln w="25400">
            <a:solidFill>
              <a:srgbClr val="C00000"/>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600" b="0" i="0" u="none" strike="noStrike" kern="1200" cap="none" spc="0" normalizeH="0" baseline="0" noProof="0" err="1">
                <a:ln>
                  <a:noFill/>
                </a:ln>
                <a:solidFill>
                  <a:srgbClr val="1C2C3C"/>
                </a:solidFill>
                <a:effectLst/>
                <a:uLnTx/>
                <a:uFillTx/>
                <a:latin typeface="Arial" panose="020B0604020202020204" pitchFamily="34" charset="0"/>
                <a:ea typeface="+mn-ea"/>
                <a:cs typeface="+mn-cs"/>
              </a:rPr>
              <a:t>Backup</a:t>
            </a:r>
            <a:r>
              <a:rPr kumimoji="0" lang="nb-NO" sz="1600" b="0" i="0" u="none" strike="noStrike" kern="1200" cap="none" spc="0" normalizeH="0" baseline="0" noProof="0">
                <a:ln>
                  <a:noFill/>
                </a:ln>
                <a:solidFill>
                  <a:srgbClr val="1C2C3C"/>
                </a:solidFill>
                <a:effectLst/>
                <a:uLnTx/>
                <a:uFillTx/>
                <a:latin typeface="Arial" panose="020B0604020202020204" pitchFamily="34" charset="0"/>
                <a:ea typeface="+mn-ea"/>
                <a:cs typeface="+mn-cs"/>
              </a:rPr>
              <a:t> </a:t>
            </a:r>
            <a:r>
              <a:rPr kumimoji="0" lang="nb-NO" sz="1600" b="0" i="0" u="none" strike="noStrike" kern="1200" cap="none" spc="0" normalizeH="0" baseline="0" noProof="0" err="1">
                <a:ln>
                  <a:noFill/>
                </a:ln>
                <a:solidFill>
                  <a:srgbClr val="1C2C3C"/>
                </a:solidFill>
                <a:effectLst/>
                <a:uLnTx/>
                <a:uFillTx/>
                <a:latin typeface="Arial" panose="020B0604020202020204" pitchFamily="34" charset="0"/>
                <a:ea typeface="+mn-ea"/>
                <a:cs typeface="+mn-cs"/>
              </a:rPr>
              <a:t>power</a:t>
            </a:r>
            <a:r>
              <a:rPr kumimoji="0" lang="nb-NO" sz="1600" b="0" i="0" u="none" strike="noStrike" kern="1200" cap="none" spc="0" normalizeH="0" baseline="0" noProof="0">
                <a:ln>
                  <a:noFill/>
                </a:ln>
                <a:solidFill>
                  <a:srgbClr val="1C2C3C"/>
                </a:solidFill>
                <a:effectLst/>
                <a:uLnTx/>
                <a:uFillTx/>
                <a:latin typeface="Arial" panose="020B0604020202020204" pitchFamily="34" charset="0"/>
                <a:ea typeface="+mn-ea"/>
                <a:cs typeface="+mn-cs"/>
              </a:rPr>
              <a:t> and </a:t>
            </a:r>
            <a:r>
              <a:rPr kumimoji="0" lang="nb-NO" sz="1600" b="0" i="0" u="none" strike="noStrike" kern="1200" cap="none" spc="0" normalizeH="0" baseline="0" noProof="0" err="1">
                <a:ln>
                  <a:noFill/>
                </a:ln>
                <a:solidFill>
                  <a:srgbClr val="1C2C3C"/>
                </a:solidFill>
                <a:effectLst/>
                <a:uLnTx/>
                <a:uFillTx/>
                <a:latin typeface="Arial" panose="020B0604020202020204" pitchFamily="34" charset="0"/>
                <a:ea typeface="+mn-ea"/>
                <a:cs typeface="+mn-cs"/>
              </a:rPr>
              <a:t>batteries</a:t>
            </a:r>
            <a:endParaRPr kumimoji="0" lang="nb-NO" sz="1600" b="0" i="0" u="none" strike="noStrike" kern="1200" cap="none" spc="0" normalizeH="0" baseline="0" noProof="0">
              <a:ln>
                <a:noFill/>
              </a:ln>
              <a:solidFill>
                <a:srgbClr val="1C2C3C"/>
              </a:solidFill>
              <a:effectLst/>
              <a:uLnTx/>
              <a:uFillTx/>
              <a:latin typeface="Arial" panose="020B0604020202020204" pitchFamily="34" charset="0"/>
              <a:ea typeface="+mn-ea"/>
              <a:cs typeface="+mn-cs"/>
            </a:endParaRPr>
          </a:p>
        </p:txBody>
      </p:sp>
      <p:sp>
        <p:nvSpPr>
          <p:cNvPr id="34" name="Ellipse 33">
            <a:extLst>
              <a:ext uri="{FF2B5EF4-FFF2-40B4-BE49-F238E27FC236}">
                <a16:creationId xmlns:a16="http://schemas.microsoft.com/office/drawing/2014/main" id="{A501E409-3B78-6348-8657-F3D4F1BBC1F6}"/>
              </a:ext>
            </a:extLst>
          </p:cNvPr>
          <p:cNvSpPr/>
          <p:nvPr/>
        </p:nvSpPr>
        <p:spPr>
          <a:xfrm rot="17616357">
            <a:off x="5075236" y="1075726"/>
            <a:ext cx="360062" cy="3339658"/>
          </a:xfrm>
          <a:prstGeom prst="ellipse">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5" name="Ellipse 34">
            <a:extLst>
              <a:ext uri="{FF2B5EF4-FFF2-40B4-BE49-F238E27FC236}">
                <a16:creationId xmlns:a16="http://schemas.microsoft.com/office/drawing/2014/main" id="{2D47448F-DFC6-BC30-E689-CE33F1542C50}"/>
              </a:ext>
            </a:extLst>
          </p:cNvPr>
          <p:cNvSpPr/>
          <p:nvPr/>
        </p:nvSpPr>
        <p:spPr>
          <a:xfrm rot="19160561">
            <a:off x="2221039" y="1739030"/>
            <a:ext cx="770683" cy="2913288"/>
          </a:xfrm>
          <a:prstGeom prst="ellipse">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cxnSp>
        <p:nvCxnSpPr>
          <p:cNvPr id="36" name="Rett pilkobling 35">
            <a:extLst>
              <a:ext uri="{FF2B5EF4-FFF2-40B4-BE49-F238E27FC236}">
                <a16:creationId xmlns:a16="http://schemas.microsoft.com/office/drawing/2014/main" id="{EFAEE072-6BC4-2E00-B41A-CAF3878F2333}"/>
              </a:ext>
            </a:extLst>
          </p:cNvPr>
          <p:cNvCxnSpPr>
            <a:cxnSpLocks/>
            <a:stCxn id="17" idx="0"/>
            <a:endCxn id="34" idx="4"/>
          </p:cNvCxnSpPr>
          <p:nvPr/>
        </p:nvCxnSpPr>
        <p:spPr>
          <a:xfrm flipH="1" flipV="1">
            <a:off x="6785367" y="3414228"/>
            <a:ext cx="346505" cy="1628251"/>
          </a:xfrm>
          <a:prstGeom prst="straightConnector1">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Rett pilkobling 37">
            <a:extLst>
              <a:ext uri="{FF2B5EF4-FFF2-40B4-BE49-F238E27FC236}">
                <a16:creationId xmlns:a16="http://schemas.microsoft.com/office/drawing/2014/main" id="{5AF44654-39BF-58E3-0CD6-BFC594769D84}"/>
              </a:ext>
            </a:extLst>
          </p:cNvPr>
          <p:cNvCxnSpPr>
            <a:cxnSpLocks/>
            <a:stCxn id="17" idx="1"/>
            <a:endCxn id="35" idx="4"/>
          </p:cNvCxnSpPr>
          <p:nvPr/>
        </p:nvCxnSpPr>
        <p:spPr>
          <a:xfrm flipH="1" flipV="1">
            <a:off x="3555433" y="4300713"/>
            <a:ext cx="3137857" cy="911043"/>
          </a:xfrm>
          <a:prstGeom prst="straightConnector1">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1E09CE6-9378-40C8-40D9-ACD5E9B536B7}"/>
              </a:ext>
            </a:extLst>
          </p:cNvPr>
          <p:cNvSpPr txBox="1"/>
          <p:nvPr/>
        </p:nvSpPr>
        <p:spPr>
          <a:xfrm>
            <a:off x="3031121" y="6429573"/>
            <a:ext cx="6102350" cy="307777"/>
          </a:xfrm>
          <a:prstGeom prst="rect">
            <a:avLst/>
          </a:prstGeom>
          <a:noFill/>
        </p:spPr>
        <p:txBody>
          <a:bodyPr wrap="square">
            <a:spAutoFit/>
          </a:bodyPr>
          <a:lstStyle/>
          <a:p>
            <a:pPr algn="ctr"/>
            <a:r>
              <a:rPr kumimoji="0" lang="en-US" sz="1400" b="0" i="0" u="none" strike="noStrike" kern="1200" cap="none" spc="0" normalizeH="0" baseline="0" noProof="0">
                <a:ln>
                  <a:noFill/>
                </a:ln>
                <a:solidFill>
                  <a:prstClr val="white"/>
                </a:solidFill>
                <a:effectLst/>
                <a:uLnTx/>
                <a:uFillTx/>
                <a:latin typeface="Arial" panose="020B0604020202020204"/>
                <a:ea typeface="+mn-ea"/>
                <a:cs typeface="Arial"/>
              </a:rPr>
              <a:t>Confidential</a:t>
            </a:r>
            <a:endParaRPr lang="en-US"/>
          </a:p>
        </p:txBody>
      </p:sp>
      <p:sp>
        <p:nvSpPr>
          <p:cNvPr id="19" name="Slide Number Placeholder 4">
            <a:extLst>
              <a:ext uri="{FF2B5EF4-FFF2-40B4-BE49-F238E27FC236}">
                <a16:creationId xmlns:a16="http://schemas.microsoft.com/office/drawing/2014/main" id="{A7929F65-5013-AF40-0BAF-8CBC2B62B6F1}"/>
              </a:ext>
            </a:extLst>
          </p:cNvPr>
          <p:cNvSpPr txBox="1">
            <a:spLocks/>
          </p:cNvSpPr>
          <p:nvPr/>
        </p:nvSpPr>
        <p:spPr>
          <a:xfrm>
            <a:off x="11418888" y="6542088"/>
            <a:ext cx="368300" cy="23177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fld id="{DEBAC383-E36A-489F-ADF8-C4D7B9AD7F0A}" type="slidenum">
              <a:rPr lang="en-US" sz="1000" smtClean="0">
                <a:solidFill>
                  <a:schemeClr val="bg1"/>
                </a:solidFill>
              </a:rPr>
              <a:pPr>
                <a:defRPr/>
              </a:pPr>
              <a:t>35</a:t>
            </a:fld>
            <a:endParaRPr lang="en-US" sz="1000">
              <a:solidFill>
                <a:schemeClr val="bg1"/>
              </a:solidFill>
            </a:endParaRPr>
          </a:p>
        </p:txBody>
      </p:sp>
    </p:spTree>
    <p:extLst>
      <p:ext uri="{BB962C8B-B14F-4D97-AF65-F5344CB8AC3E}">
        <p14:creationId xmlns:p14="http://schemas.microsoft.com/office/powerpoint/2010/main" val="32103132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DBC5A2-7897-462C-A5AF-6377861F17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9" imgH="375" progId="TCLayout.ActiveDocument.1">
                  <p:embed/>
                </p:oleObj>
              </mc:Choice>
              <mc:Fallback>
                <p:oleObj name="think-cell Slide" r:id="rId6" imgW="369" imgH="375" progId="TCLayout.ActiveDocument.1">
                  <p:embed/>
                  <p:pic>
                    <p:nvPicPr>
                      <p:cNvPr id="7" name="Object 6" hidden="1">
                        <a:extLst>
                          <a:ext uri="{FF2B5EF4-FFF2-40B4-BE49-F238E27FC236}">
                            <a16:creationId xmlns:a16="http://schemas.microsoft.com/office/drawing/2014/main" id="{0EDBC5A2-7897-462C-A5AF-6377861F17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7DE42A-8335-4108-B3CA-56C6C32BC964}"/>
              </a:ext>
            </a:extLst>
          </p:cNvPr>
          <p:cNvSpPr/>
          <p:nvPr>
            <p:custDataLst>
              <p:tags r:id="rId2"/>
            </p:custDataLst>
          </p:nvPr>
        </p:nvSpPr>
        <p:spPr>
          <a:xfrm>
            <a:off x="0" y="0"/>
            <a:ext cx="158750" cy="1587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err="1">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12" name="Title 1">
            <a:extLst>
              <a:ext uri="{FF2B5EF4-FFF2-40B4-BE49-F238E27FC236}">
                <a16:creationId xmlns:a16="http://schemas.microsoft.com/office/drawing/2014/main" id="{8D388877-7681-E2AD-DD73-4DF1B264BB61}"/>
              </a:ext>
            </a:extLst>
          </p:cNvPr>
          <p:cNvSpPr>
            <a:spLocks noGrp="1"/>
          </p:cNvSpPr>
          <p:nvPr>
            <p:ph type="title"/>
          </p:nvPr>
        </p:nvSpPr>
        <p:spPr>
          <a:xfrm>
            <a:off x="7567750" y="689555"/>
            <a:ext cx="3832860" cy="1117229"/>
          </a:xfrm>
        </p:spPr>
        <p:txBody>
          <a:bodyPr vert="horz"/>
          <a:lstStyle/>
          <a:p>
            <a:r>
              <a:rPr lang="en-US"/>
              <a:t>LEIF ERIKSON</a:t>
            </a:r>
            <a:br>
              <a:rPr lang="en-US" sz="2000"/>
            </a:br>
            <a:r>
              <a:rPr lang="en-US" sz="1600">
                <a:solidFill>
                  <a:srgbClr val="F57127"/>
                </a:solidFill>
              </a:rPr>
              <a:t>- a sustainability project</a:t>
            </a:r>
            <a:br>
              <a:rPr lang="en-US" sz="1600">
                <a:solidFill>
                  <a:srgbClr val="F57127"/>
                </a:solidFill>
              </a:rPr>
            </a:br>
            <a:br>
              <a:rPr lang="en-US" sz="1600">
                <a:solidFill>
                  <a:srgbClr val="F57127"/>
                </a:solidFill>
              </a:rPr>
            </a:br>
            <a:r>
              <a:rPr lang="en-US" sz="1400" b="0">
                <a:solidFill>
                  <a:schemeClr val="tx1"/>
                </a:solidFill>
              </a:rPr>
              <a:t>Unlocking the global renewable giants</a:t>
            </a:r>
            <a:endParaRPr lang="en-US" sz="2000"/>
          </a:p>
        </p:txBody>
      </p:sp>
      <p:sp>
        <p:nvSpPr>
          <p:cNvPr id="13" name="Content Placeholder 2">
            <a:extLst>
              <a:ext uri="{FF2B5EF4-FFF2-40B4-BE49-F238E27FC236}">
                <a16:creationId xmlns:a16="http://schemas.microsoft.com/office/drawing/2014/main" id="{99C7D350-707D-1F0F-FD8D-AC19BDA88653}"/>
              </a:ext>
            </a:extLst>
          </p:cNvPr>
          <p:cNvSpPr txBox="1">
            <a:spLocks/>
          </p:cNvSpPr>
          <p:nvPr/>
        </p:nvSpPr>
        <p:spPr>
          <a:xfrm>
            <a:off x="7567750" y="1797505"/>
            <a:ext cx="4342310" cy="3867725"/>
          </a:xfrm>
          <a:prstGeom prst="rect">
            <a:avLst/>
          </a:prstGeom>
        </p:spPr>
        <p:txBody>
          <a:bodyPr lIns="91440" tIns="45720" rIns="91440" bIns="45720" anchor="t"/>
          <a:lstStyle>
            <a:lvl1pPr marL="357188" indent="-357188" algn="l" defTabSz="914400" rtl="0" eaLnBrk="1" latinLnBrk="0" hangingPunct="1">
              <a:lnSpc>
                <a:spcPct val="100000"/>
              </a:lnSpc>
              <a:spcBef>
                <a:spcPts val="800"/>
              </a:spcBef>
              <a:buFontTx/>
              <a:buBlip>
                <a:blip r:embed="rId8"/>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endParaRPr lang="en-US" sz="1400" b="1">
              <a:solidFill>
                <a:schemeClr val="accent1"/>
              </a:solidFill>
            </a:endParaRPr>
          </a:p>
          <a:p>
            <a:pPr marL="0" indent="0">
              <a:buFontTx/>
              <a:buNone/>
            </a:pPr>
            <a:r>
              <a:rPr lang="en-US" sz="1400" b="1">
                <a:solidFill>
                  <a:schemeClr val="accent1"/>
                </a:solidFill>
              </a:rPr>
              <a:t>Moving Giga Bytes instead of Giga Watts, leveraging the advantages of the North</a:t>
            </a:r>
          </a:p>
          <a:p>
            <a:pPr marL="356870" indent="-356870"/>
            <a:r>
              <a:rPr lang="en-US" sz="1400"/>
              <a:t>Cold climate</a:t>
            </a:r>
            <a:endParaRPr lang="en-US" sz="1400">
              <a:cs typeface="Arial"/>
            </a:endParaRPr>
          </a:p>
          <a:p>
            <a:pPr marL="356870" indent="-356870"/>
            <a:r>
              <a:rPr lang="en-US" sz="1400"/>
              <a:t>Abundant renewable energy</a:t>
            </a:r>
            <a:endParaRPr lang="en-US" sz="1400">
              <a:cs typeface="Arial"/>
            </a:endParaRPr>
          </a:p>
          <a:p>
            <a:pPr marL="356870" indent="-356870"/>
            <a:r>
              <a:rPr lang="en-US" sz="1400"/>
              <a:t>Robust core infrastructure (grid)</a:t>
            </a:r>
            <a:endParaRPr lang="en-US" sz="1400">
              <a:cs typeface="Arial"/>
            </a:endParaRPr>
          </a:p>
          <a:p>
            <a:pPr marL="356870" indent="-356870"/>
            <a:r>
              <a:rPr lang="en-US" sz="1400"/>
              <a:t>Shorter distances between continents</a:t>
            </a:r>
            <a:endParaRPr lang="en-US" sz="1400">
              <a:cs typeface="Arial"/>
            </a:endParaRPr>
          </a:p>
          <a:p>
            <a:pPr marL="356870" indent="-356870"/>
            <a:r>
              <a:rPr lang="en-US" sz="1400"/>
              <a:t>Political and financial stability</a:t>
            </a:r>
            <a:endParaRPr lang="en-US" sz="1400">
              <a:cs typeface="Arial"/>
            </a:endParaRPr>
          </a:p>
          <a:p>
            <a:pPr marL="356870" indent="-356870"/>
            <a:r>
              <a:rPr lang="en-US" sz="1400">
                <a:cs typeface="Arial"/>
              </a:rPr>
              <a:t>Secure connectivity between NATO allies</a:t>
            </a:r>
          </a:p>
          <a:p>
            <a:pPr marL="356870" indent="-356870"/>
            <a:r>
              <a:rPr lang="en-US" sz="1400"/>
              <a:t>First trans-Atlantic system powered with 100%  renewable energy</a:t>
            </a:r>
          </a:p>
          <a:p>
            <a:pPr marL="356870" indent="-356870"/>
            <a:endParaRPr lang="en-US" sz="1400">
              <a:cs typeface="Arial" panose="020B0604020202020204"/>
            </a:endParaRPr>
          </a:p>
          <a:p>
            <a:pPr marL="0" indent="0">
              <a:buFontTx/>
              <a:buNone/>
            </a:pPr>
            <a:r>
              <a:rPr lang="en-US" sz="1400" b="1">
                <a:solidFill>
                  <a:schemeClr val="accent1"/>
                </a:solidFill>
              </a:rPr>
              <a:t>Bulk’s vision: Racing to bring sustainable infrastructure to a global audience</a:t>
            </a:r>
            <a:endParaRPr lang="en-US" sz="1400" b="1">
              <a:solidFill>
                <a:schemeClr val="accent1"/>
              </a:solidFill>
              <a:cs typeface="Arial"/>
            </a:endParaRPr>
          </a:p>
          <a:p>
            <a:pPr marL="356870" indent="-356870"/>
            <a:endParaRPr lang="en-US" sz="1400">
              <a:cs typeface="Arial" panose="020B0604020202020204"/>
            </a:endParaRPr>
          </a:p>
        </p:txBody>
      </p:sp>
      <p:pic>
        <p:nvPicPr>
          <p:cNvPr id="4" name="Picture 3">
            <a:extLst>
              <a:ext uri="{FF2B5EF4-FFF2-40B4-BE49-F238E27FC236}">
                <a16:creationId xmlns:a16="http://schemas.microsoft.com/office/drawing/2014/main" id="{EFCB90CE-A6F4-3C84-DA21-E0229C5AF750}"/>
              </a:ext>
            </a:extLst>
          </p:cNvPr>
          <p:cNvPicPr>
            <a:picLocks noChangeAspect="1"/>
          </p:cNvPicPr>
          <p:nvPr/>
        </p:nvPicPr>
        <p:blipFill>
          <a:blip r:embed="rId9"/>
          <a:stretch>
            <a:fillRect/>
          </a:stretch>
        </p:blipFill>
        <p:spPr>
          <a:xfrm>
            <a:off x="-13" y="0"/>
            <a:ext cx="7368081" cy="6347314"/>
          </a:xfrm>
          <a:prstGeom prst="rect">
            <a:avLst/>
          </a:prstGeom>
        </p:spPr>
      </p:pic>
      <p:sp>
        <p:nvSpPr>
          <p:cNvPr id="6" name="Oval 5">
            <a:extLst>
              <a:ext uri="{FF2B5EF4-FFF2-40B4-BE49-F238E27FC236}">
                <a16:creationId xmlns:a16="http://schemas.microsoft.com/office/drawing/2014/main" id="{120C0AB3-CE31-175B-A571-A57A18E736FD}"/>
              </a:ext>
            </a:extLst>
          </p:cNvPr>
          <p:cNvSpPr/>
          <p:nvPr/>
        </p:nvSpPr>
        <p:spPr>
          <a:xfrm>
            <a:off x="1646950" y="3982002"/>
            <a:ext cx="540000" cy="540000"/>
          </a:xfrm>
          <a:prstGeom prst="ellipse">
            <a:avLst/>
          </a:prstGeom>
          <a:solidFill>
            <a:srgbClr val="E7F4D8"/>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rgbClr val="00B050"/>
                </a:solidFill>
              </a:rPr>
              <a:t>27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0" name="Oval 19">
            <a:extLst>
              <a:ext uri="{FF2B5EF4-FFF2-40B4-BE49-F238E27FC236}">
                <a16:creationId xmlns:a16="http://schemas.microsoft.com/office/drawing/2014/main" id="{CD416524-7D1D-467C-5899-C43D26349BA3}"/>
              </a:ext>
            </a:extLst>
          </p:cNvPr>
          <p:cNvSpPr/>
          <p:nvPr/>
        </p:nvSpPr>
        <p:spPr>
          <a:xfrm>
            <a:off x="5485617" y="3817958"/>
            <a:ext cx="540000" cy="540000"/>
          </a:xfrm>
          <a:prstGeom prst="ellipse">
            <a:avLst/>
          </a:prstGeom>
          <a:solidFill>
            <a:srgbClr val="E7F4D8"/>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rgbClr val="00B050"/>
                </a:solidFill>
              </a:rPr>
              <a:t>22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1" name="Oval 20">
            <a:extLst>
              <a:ext uri="{FF2B5EF4-FFF2-40B4-BE49-F238E27FC236}">
                <a16:creationId xmlns:a16="http://schemas.microsoft.com/office/drawing/2014/main" id="{989DA30F-BACA-0E79-3D52-1A0DE25AC6D3}"/>
              </a:ext>
            </a:extLst>
          </p:cNvPr>
          <p:cNvSpPr/>
          <p:nvPr/>
        </p:nvSpPr>
        <p:spPr>
          <a:xfrm>
            <a:off x="42818" y="5446863"/>
            <a:ext cx="540000" cy="540000"/>
          </a:xfrm>
          <a:prstGeom prst="ellipse">
            <a:avLst/>
          </a:prstGeom>
          <a:solidFill>
            <a:schemeClr val="bg2">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chemeClr val="tx1"/>
                </a:solidFill>
              </a:rPr>
              <a:t>420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2" name="Oval 21">
            <a:extLst>
              <a:ext uri="{FF2B5EF4-FFF2-40B4-BE49-F238E27FC236}">
                <a16:creationId xmlns:a16="http://schemas.microsoft.com/office/drawing/2014/main" id="{089077C9-4253-9F1D-46E1-C4CF7A338C41}"/>
              </a:ext>
            </a:extLst>
          </p:cNvPr>
          <p:cNvSpPr/>
          <p:nvPr/>
        </p:nvSpPr>
        <p:spPr>
          <a:xfrm>
            <a:off x="6809378" y="4966803"/>
            <a:ext cx="540000" cy="540000"/>
          </a:xfrm>
          <a:prstGeom prst="ellipse">
            <a:avLst/>
          </a:prstGeom>
          <a:solidFill>
            <a:schemeClr val="bg2">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chemeClr val="tx1"/>
                </a:solidFill>
              </a:rPr>
              <a:t>525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 name="Slide Number Placeholder 4">
            <a:extLst>
              <a:ext uri="{FF2B5EF4-FFF2-40B4-BE49-F238E27FC236}">
                <a16:creationId xmlns:a16="http://schemas.microsoft.com/office/drawing/2014/main" id="{8170D47D-84C6-7031-110D-D9C301B7A438}"/>
              </a:ext>
            </a:extLst>
          </p:cNvPr>
          <p:cNvSpPr>
            <a:spLocks noGrp="1"/>
          </p:cNvSpPr>
          <p:nvPr>
            <p:ph type="sldNum" sz="quarter" idx="12"/>
            <p:custDataLst>
              <p:tags r:id="rId3"/>
            </p:custDataLst>
          </p:nvPr>
        </p:nvSpPr>
        <p:spPr>
          <a:xfrm>
            <a:off x="11418888" y="6542088"/>
            <a:ext cx="368300"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A6C693-FA55-4929-8F02-9C5C1D56A297}"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Plassholder for bunntekst 1">
            <a:extLst>
              <a:ext uri="{FF2B5EF4-FFF2-40B4-BE49-F238E27FC236}">
                <a16:creationId xmlns:a16="http://schemas.microsoft.com/office/drawing/2014/main" id="{F0116E66-8816-23FD-D379-A822B23ECE85}"/>
              </a:ext>
            </a:extLst>
          </p:cNvPr>
          <p:cNvSpPr txBox="1">
            <a:spLocks/>
          </p:cNvSpPr>
          <p:nvPr/>
        </p:nvSpPr>
        <p:spPr>
          <a:xfrm>
            <a:off x="4038600" y="6475412"/>
            <a:ext cx="4114800" cy="365125"/>
          </a:xfrm>
          <a:prstGeom prst="rect">
            <a:avLst/>
          </a:prstGeom>
          <a:solidFill>
            <a:srgbClr val="364657"/>
          </a:solidFill>
        </p:spPr>
        <p:txBody>
          <a:bodyPr vert="horz" lIns="91440" tIns="45720" rIns="91440" bIns="45720" rtlCol="0" anchor="ctr"/>
          <a:lstStyle>
            <a:defPPr>
              <a:defRPr lang="en-US"/>
            </a:defPPr>
            <a:lvl1pPr algn="ctr" rtl="0" eaLnBrk="0" fontAlgn="base" hangingPunct="0">
              <a:spcBef>
                <a:spcPct val="0"/>
              </a:spcBef>
              <a:spcAft>
                <a:spcPct val="0"/>
              </a:spcAft>
              <a:defRPr sz="1200" kern="1200">
                <a:solidFill>
                  <a:srgbClr val="F2F2F2"/>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nb-NO"/>
              <a:t>Public</a:t>
            </a:r>
            <a:endParaRPr lang="en-GB"/>
          </a:p>
        </p:txBody>
      </p:sp>
    </p:spTree>
    <p:extLst>
      <p:ext uri="{BB962C8B-B14F-4D97-AF65-F5344CB8AC3E}">
        <p14:creationId xmlns:p14="http://schemas.microsoft.com/office/powerpoint/2010/main" val="8959213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DBC5A2-7897-462C-A5AF-6377861F17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9" imgH="375" progId="TCLayout.ActiveDocument.1">
                  <p:embed/>
                </p:oleObj>
              </mc:Choice>
              <mc:Fallback>
                <p:oleObj name="think-cell Slide" r:id="rId6" imgW="369" imgH="375" progId="TCLayout.ActiveDocument.1">
                  <p:embed/>
                  <p:pic>
                    <p:nvPicPr>
                      <p:cNvPr id="7" name="Object 6" hidden="1">
                        <a:extLst>
                          <a:ext uri="{FF2B5EF4-FFF2-40B4-BE49-F238E27FC236}">
                            <a16:creationId xmlns:a16="http://schemas.microsoft.com/office/drawing/2014/main" id="{0EDBC5A2-7897-462C-A5AF-6377861F17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7DE42A-8335-4108-B3CA-56C6C32BC964}"/>
              </a:ext>
            </a:extLst>
          </p:cNvPr>
          <p:cNvSpPr/>
          <p:nvPr>
            <p:custDataLst>
              <p:tags r:id="rId2"/>
            </p:custDataLst>
          </p:nvPr>
        </p:nvSpPr>
        <p:spPr>
          <a:xfrm>
            <a:off x="0" y="0"/>
            <a:ext cx="158750" cy="1587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err="1">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4" name="Picture 3">
            <a:extLst>
              <a:ext uri="{FF2B5EF4-FFF2-40B4-BE49-F238E27FC236}">
                <a16:creationId xmlns:a16="http://schemas.microsoft.com/office/drawing/2014/main" id="{EFCB90CE-A6F4-3C84-DA21-E0229C5AF750}"/>
              </a:ext>
            </a:extLst>
          </p:cNvPr>
          <p:cNvPicPr>
            <a:picLocks noChangeAspect="1"/>
          </p:cNvPicPr>
          <p:nvPr/>
        </p:nvPicPr>
        <p:blipFill rotWithShape="1">
          <a:blip r:embed="rId8"/>
          <a:srcRect r="2015"/>
          <a:stretch/>
        </p:blipFill>
        <p:spPr>
          <a:xfrm>
            <a:off x="4972404" y="0"/>
            <a:ext cx="7219589" cy="6347314"/>
          </a:xfrm>
          <a:prstGeom prst="rect">
            <a:avLst/>
          </a:prstGeom>
        </p:spPr>
      </p:pic>
      <p:sp>
        <p:nvSpPr>
          <p:cNvPr id="6" name="Oval 5">
            <a:extLst>
              <a:ext uri="{FF2B5EF4-FFF2-40B4-BE49-F238E27FC236}">
                <a16:creationId xmlns:a16="http://schemas.microsoft.com/office/drawing/2014/main" id="{120C0AB3-CE31-175B-A571-A57A18E736FD}"/>
              </a:ext>
            </a:extLst>
          </p:cNvPr>
          <p:cNvSpPr/>
          <p:nvPr/>
        </p:nvSpPr>
        <p:spPr>
          <a:xfrm>
            <a:off x="6767866" y="4065505"/>
            <a:ext cx="540000" cy="540000"/>
          </a:xfrm>
          <a:prstGeom prst="ellipse">
            <a:avLst/>
          </a:prstGeom>
          <a:solidFill>
            <a:srgbClr val="E7F4D8"/>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rgbClr val="00B050"/>
                </a:solidFill>
              </a:rPr>
              <a:t>27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0" name="Oval 19">
            <a:extLst>
              <a:ext uri="{FF2B5EF4-FFF2-40B4-BE49-F238E27FC236}">
                <a16:creationId xmlns:a16="http://schemas.microsoft.com/office/drawing/2014/main" id="{CD416524-7D1D-467C-5899-C43D26349BA3}"/>
              </a:ext>
            </a:extLst>
          </p:cNvPr>
          <p:cNvSpPr/>
          <p:nvPr/>
        </p:nvSpPr>
        <p:spPr>
          <a:xfrm>
            <a:off x="10536195" y="3939081"/>
            <a:ext cx="540000" cy="540000"/>
          </a:xfrm>
          <a:prstGeom prst="ellipse">
            <a:avLst/>
          </a:prstGeom>
          <a:solidFill>
            <a:srgbClr val="E7F4D8"/>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rgbClr val="00B050"/>
                </a:solidFill>
              </a:rPr>
              <a:t>22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1" name="Oval 20">
            <a:extLst>
              <a:ext uri="{FF2B5EF4-FFF2-40B4-BE49-F238E27FC236}">
                <a16:creationId xmlns:a16="http://schemas.microsoft.com/office/drawing/2014/main" id="{989DA30F-BACA-0E79-3D52-1A0DE25AC6D3}"/>
              </a:ext>
            </a:extLst>
          </p:cNvPr>
          <p:cNvSpPr/>
          <p:nvPr/>
        </p:nvSpPr>
        <p:spPr>
          <a:xfrm>
            <a:off x="5157200" y="5481995"/>
            <a:ext cx="540000" cy="540000"/>
          </a:xfrm>
          <a:prstGeom prst="ellipse">
            <a:avLst/>
          </a:prstGeom>
          <a:solidFill>
            <a:schemeClr val="bg2">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chemeClr val="tx1"/>
                </a:solidFill>
              </a:rPr>
              <a:t>420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2" name="Oval 21">
            <a:extLst>
              <a:ext uri="{FF2B5EF4-FFF2-40B4-BE49-F238E27FC236}">
                <a16:creationId xmlns:a16="http://schemas.microsoft.com/office/drawing/2014/main" id="{089077C9-4253-9F1D-46E1-C4CF7A338C41}"/>
              </a:ext>
            </a:extLst>
          </p:cNvPr>
          <p:cNvSpPr/>
          <p:nvPr/>
        </p:nvSpPr>
        <p:spPr>
          <a:xfrm>
            <a:off x="11603038" y="5247201"/>
            <a:ext cx="540000" cy="540000"/>
          </a:xfrm>
          <a:prstGeom prst="ellipse">
            <a:avLst/>
          </a:prstGeom>
          <a:solidFill>
            <a:schemeClr val="bg2">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b="1">
                <a:solidFill>
                  <a:schemeClr val="tx1"/>
                </a:solidFill>
              </a:rPr>
              <a:t>525g</a:t>
            </a:r>
            <a:r>
              <a:rPr lang="en-US" sz="1000">
                <a:solidFill>
                  <a:schemeClr val="tx1"/>
                </a:solidFill>
              </a:rPr>
              <a:t> </a:t>
            </a:r>
            <a:br>
              <a:rPr lang="en-US" sz="800">
                <a:solidFill>
                  <a:schemeClr val="tx1"/>
                </a:solidFill>
              </a:rPr>
            </a:br>
            <a:r>
              <a:rPr lang="en-US" sz="600">
                <a:solidFill>
                  <a:schemeClr val="tx1"/>
                </a:solidFill>
              </a:rPr>
              <a:t>carbon </a:t>
            </a:r>
            <a:br>
              <a:rPr lang="en-US" sz="600">
                <a:solidFill>
                  <a:schemeClr val="tx1"/>
                </a:solidFill>
              </a:rPr>
            </a:br>
            <a:r>
              <a:rPr lang="en-US" sz="600">
                <a:solidFill>
                  <a:schemeClr val="tx1"/>
                </a:solidFill>
              </a:rPr>
              <a:t>intensity</a:t>
            </a:r>
          </a:p>
        </p:txBody>
      </p:sp>
      <p:sp>
        <p:nvSpPr>
          <p:cNvPr id="2" name="Slide Number Placeholder 4">
            <a:extLst>
              <a:ext uri="{FF2B5EF4-FFF2-40B4-BE49-F238E27FC236}">
                <a16:creationId xmlns:a16="http://schemas.microsoft.com/office/drawing/2014/main" id="{8170D47D-84C6-7031-110D-D9C301B7A438}"/>
              </a:ext>
            </a:extLst>
          </p:cNvPr>
          <p:cNvSpPr>
            <a:spLocks noGrp="1"/>
          </p:cNvSpPr>
          <p:nvPr>
            <p:ph type="sldNum" sz="quarter" idx="12"/>
            <p:custDataLst>
              <p:tags r:id="rId3"/>
            </p:custDataLst>
          </p:nvPr>
        </p:nvSpPr>
        <p:spPr>
          <a:xfrm>
            <a:off x="11418888" y="6542088"/>
            <a:ext cx="368300"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A6C693-FA55-4929-8F02-9C5C1D56A297}"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8" name="Bilde 7">
            <a:extLst>
              <a:ext uri="{FF2B5EF4-FFF2-40B4-BE49-F238E27FC236}">
                <a16:creationId xmlns:a16="http://schemas.microsoft.com/office/drawing/2014/main" id="{18A769C6-12EC-3D28-3381-A638D00F804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 y="2965167"/>
            <a:ext cx="5073221" cy="3382148"/>
          </a:xfrm>
          <a:prstGeom prst="rect">
            <a:avLst/>
          </a:prstGeom>
        </p:spPr>
      </p:pic>
      <p:pic>
        <p:nvPicPr>
          <p:cNvPr id="9" name="Bilde 8">
            <a:extLst>
              <a:ext uri="{FF2B5EF4-FFF2-40B4-BE49-F238E27FC236}">
                <a16:creationId xmlns:a16="http://schemas.microsoft.com/office/drawing/2014/main" id="{6B09A363-297C-4F2F-B1BD-C6A433FDF168}"/>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11016"/>
          <a:stretch/>
        </p:blipFill>
        <p:spPr>
          <a:xfrm>
            <a:off x="-23447" y="-1"/>
            <a:ext cx="5073220" cy="3009583"/>
          </a:xfrm>
          <a:prstGeom prst="rect">
            <a:avLst/>
          </a:prstGeom>
        </p:spPr>
      </p:pic>
      <p:sp>
        <p:nvSpPr>
          <p:cNvPr id="10" name="Rektangel 9">
            <a:extLst>
              <a:ext uri="{FF2B5EF4-FFF2-40B4-BE49-F238E27FC236}">
                <a16:creationId xmlns:a16="http://schemas.microsoft.com/office/drawing/2014/main" id="{0BA71069-C645-AB7F-1154-64BD5A119AF6}"/>
              </a:ext>
            </a:extLst>
          </p:cNvPr>
          <p:cNvSpPr/>
          <p:nvPr/>
        </p:nvSpPr>
        <p:spPr>
          <a:xfrm>
            <a:off x="721063" y="3065305"/>
            <a:ext cx="3057247" cy="584775"/>
          </a:xfrm>
          <a:prstGeom prst="rect">
            <a:avLst/>
          </a:prstGeom>
          <a:noFill/>
          <a:ln>
            <a:noFill/>
          </a:ln>
        </p:spPr>
        <p:txBody>
          <a:bodyPr wrap="none" lIns="91440" tIns="45720" rIns="91440" bIns="45720">
            <a:spAutoFit/>
          </a:bodyPr>
          <a:lstStyle/>
          <a:p>
            <a:pPr algn="ctr"/>
            <a:r>
              <a:rPr lang="nb-NO" sz="3200" b="1">
                <a:solidFill>
                  <a:srgbClr val="F57127"/>
                </a:solidFill>
                <a:latin typeface="+mj-lt"/>
                <a:ea typeface="+mj-ea"/>
                <a:cs typeface="+mj-cs"/>
                <a:hlinkClick r:id="rId11">
                  <a:extLst>
                    <a:ext uri="{A12FA001-AC4F-418D-AE19-62706E023703}">
                      <ahyp:hlinkClr xmlns:ahyp="http://schemas.microsoft.com/office/drawing/2018/hyperlinkcolor" val="tx"/>
                    </a:ext>
                  </a:extLst>
                </a:hlinkClick>
              </a:rPr>
              <a:t>LEIF ERIKSON</a:t>
            </a:r>
            <a:endParaRPr lang="nb-NO" sz="3200" b="1">
              <a:solidFill>
                <a:srgbClr val="F57127"/>
              </a:solidFill>
              <a:latin typeface="+mj-lt"/>
              <a:ea typeface="+mj-ea"/>
              <a:cs typeface="+mj-cs"/>
            </a:endParaRPr>
          </a:p>
        </p:txBody>
      </p:sp>
      <p:sp>
        <p:nvSpPr>
          <p:cNvPr id="3" name="Plassholder for bunntekst 1">
            <a:extLst>
              <a:ext uri="{FF2B5EF4-FFF2-40B4-BE49-F238E27FC236}">
                <a16:creationId xmlns:a16="http://schemas.microsoft.com/office/drawing/2014/main" id="{52852FCC-FB05-4563-DDAE-AC8842C0C2AF}"/>
              </a:ext>
            </a:extLst>
          </p:cNvPr>
          <p:cNvSpPr>
            <a:spLocks noGrp="1"/>
          </p:cNvSpPr>
          <p:nvPr>
            <p:ph type="ftr" sz="quarter" idx="3"/>
          </p:nvPr>
        </p:nvSpPr>
        <p:spPr>
          <a:xfrm>
            <a:off x="4028326" y="6427431"/>
            <a:ext cx="4114800" cy="322690"/>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Tree>
    <p:extLst>
      <p:ext uri="{BB962C8B-B14F-4D97-AF65-F5344CB8AC3E}">
        <p14:creationId xmlns:p14="http://schemas.microsoft.com/office/powerpoint/2010/main" val="31872820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810CC60-0BE4-A541-CF1B-60C61782A3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42" progId="TCLayout.ActiveDocument.1">
                  <p:embed/>
                </p:oleObj>
              </mc:Choice>
              <mc:Fallback>
                <p:oleObj name="think-cell Slide" r:id="rId4" imgW="639" imgH="642" progId="TCLayout.ActiveDocument.1">
                  <p:embed/>
                  <p:pic>
                    <p:nvPicPr>
                      <p:cNvPr id="7" name="think-cell data - do not delete" hidden="1">
                        <a:extLst>
                          <a:ext uri="{FF2B5EF4-FFF2-40B4-BE49-F238E27FC236}">
                            <a16:creationId xmlns:a16="http://schemas.microsoft.com/office/drawing/2014/main" id="{8810CC60-0BE4-A541-CF1B-60C61782A3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CBE89DCB-5649-9B01-0FFC-6E20BBC2FE50}"/>
              </a:ext>
            </a:extLst>
          </p:cNvPr>
          <p:cNvPicPr>
            <a:picLocks noChangeAspect="1"/>
          </p:cNvPicPr>
          <p:nvPr/>
        </p:nvPicPr>
        <p:blipFill rotWithShape="1">
          <a:blip r:embed="rId6"/>
          <a:srcRect b="14937"/>
          <a:stretch/>
        </p:blipFill>
        <p:spPr>
          <a:xfrm>
            <a:off x="0" y="0"/>
            <a:ext cx="12192000" cy="6912000"/>
          </a:xfrm>
          <a:prstGeom prst="rect">
            <a:avLst/>
          </a:prstGeom>
        </p:spPr>
      </p:pic>
      <p:sp>
        <p:nvSpPr>
          <p:cNvPr id="4" name="Slide Number Placeholder 3">
            <a:extLst>
              <a:ext uri="{FF2B5EF4-FFF2-40B4-BE49-F238E27FC236}">
                <a16:creationId xmlns:a16="http://schemas.microsoft.com/office/drawing/2014/main" id="{477E6D4E-22DF-A3D5-B4F7-35FCB85BBFA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6E7EBF5-4881-4A96-8A4B-E2569E91C3E9}" type="slidenum">
              <a:rPr kumimoji="0" lang="en-US" sz="900" b="0" i="0" u="none" strike="noStrike" kern="1200" cap="none" spc="0" normalizeH="0" baseline="0" noProof="0" smtClean="0">
                <a:ln>
                  <a:noFill/>
                </a:ln>
                <a:solidFill>
                  <a:srgbClr val="364657"/>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srgbClr val="364657"/>
              </a:solidFill>
              <a:effectLst/>
              <a:uLnTx/>
              <a:uFillTx/>
              <a:latin typeface="Arial" panose="020B0604020202020204"/>
              <a:ea typeface="+mn-ea"/>
              <a:cs typeface="+mn-cs"/>
            </a:endParaRPr>
          </a:p>
        </p:txBody>
      </p:sp>
      <p:sp>
        <p:nvSpPr>
          <p:cNvPr id="8" name="Title 12">
            <a:extLst>
              <a:ext uri="{FF2B5EF4-FFF2-40B4-BE49-F238E27FC236}">
                <a16:creationId xmlns:a16="http://schemas.microsoft.com/office/drawing/2014/main" id="{2386319D-C9A3-280F-04E5-9B1E031EA10B}"/>
              </a:ext>
            </a:extLst>
          </p:cNvPr>
          <p:cNvSpPr txBox="1">
            <a:spLocks noChangeArrowheads="1"/>
          </p:cNvSpPr>
          <p:nvPr/>
        </p:nvSpPr>
        <p:spPr>
          <a:xfrm>
            <a:off x="6945312" y="1247775"/>
            <a:ext cx="10493375" cy="481013"/>
          </a:xfrm>
          <a:prstGeom prst="rect">
            <a:avLst/>
          </a:prstGeom>
        </p:spPr>
        <p:txBody>
          <a:bodyPr/>
          <a:lstStyle>
            <a:lvl1pPr algn="l" rtl="0" eaLnBrk="0" fontAlgn="base" hangingPunct="0">
              <a:lnSpc>
                <a:spcPct val="90000"/>
              </a:lnSpc>
              <a:spcBef>
                <a:spcPct val="0"/>
              </a:spcBef>
              <a:spcAft>
                <a:spcPct val="0"/>
              </a:spcAft>
              <a:defRPr sz="2800"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2pPr>
            <a:lvl3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3pPr>
            <a:lvl4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4pPr>
            <a:lvl5pPr algn="l" rtl="0" eaLnBrk="0" fontAlgn="base" hangingPunct="0">
              <a:lnSpc>
                <a:spcPct val="90000"/>
              </a:lnSpc>
              <a:spcBef>
                <a:spcPct val="0"/>
              </a:spcBef>
              <a:spcAft>
                <a:spcPct val="0"/>
              </a:spcAft>
              <a:defRPr sz="2800">
                <a:solidFill>
                  <a:schemeClr val="accent1"/>
                </a:solidFill>
                <a:latin typeface="Arial" panose="020B0604020202020204" pitchFamily="34" charset="0"/>
              </a:defRPr>
            </a:lvl5pPr>
            <a:lvl6pPr marL="457200" algn="l" rtl="0" fontAlgn="base">
              <a:lnSpc>
                <a:spcPct val="90000"/>
              </a:lnSpc>
              <a:spcBef>
                <a:spcPct val="0"/>
              </a:spcBef>
              <a:spcAft>
                <a:spcPct val="0"/>
              </a:spcAft>
              <a:defRPr sz="2800">
                <a:solidFill>
                  <a:schemeClr val="accent1"/>
                </a:solidFill>
                <a:latin typeface="Arial" panose="020B0604020202020204" pitchFamily="34" charset="0"/>
              </a:defRPr>
            </a:lvl6pPr>
            <a:lvl7pPr marL="914400" algn="l" rtl="0" fontAlgn="base">
              <a:lnSpc>
                <a:spcPct val="90000"/>
              </a:lnSpc>
              <a:spcBef>
                <a:spcPct val="0"/>
              </a:spcBef>
              <a:spcAft>
                <a:spcPct val="0"/>
              </a:spcAft>
              <a:defRPr sz="2800">
                <a:solidFill>
                  <a:schemeClr val="accent1"/>
                </a:solidFill>
                <a:latin typeface="Arial" panose="020B0604020202020204" pitchFamily="34" charset="0"/>
              </a:defRPr>
            </a:lvl7pPr>
            <a:lvl8pPr marL="1371600" algn="l" rtl="0" fontAlgn="base">
              <a:lnSpc>
                <a:spcPct val="90000"/>
              </a:lnSpc>
              <a:spcBef>
                <a:spcPct val="0"/>
              </a:spcBef>
              <a:spcAft>
                <a:spcPct val="0"/>
              </a:spcAft>
              <a:defRPr sz="2800">
                <a:solidFill>
                  <a:schemeClr val="accent1"/>
                </a:solidFill>
                <a:latin typeface="Arial" panose="020B0604020202020204" pitchFamily="34" charset="0"/>
              </a:defRPr>
            </a:lvl8pPr>
            <a:lvl9pPr marL="1828800" algn="l" rtl="0" fontAlgn="base">
              <a:lnSpc>
                <a:spcPct val="90000"/>
              </a:lnSpc>
              <a:spcBef>
                <a:spcPct val="0"/>
              </a:spcBef>
              <a:spcAft>
                <a:spcPct val="0"/>
              </a:spcAft>
              <a:defRPr sz="2800">
                <a:solidFill>
                  <a:schemeClr val="accent1"/>
                </a:solidFill>
                <a:latin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nb-NO" altLang="nb-NO" sz="2800" b="0" i="0" u="none" strike="noStrike" kern="1200" cap="none" spc="0" normalizeH="0" baseline="0" noProof="0" err="1">
                <a:ln>
                  <a:noFill/>
                </a:ln>
                <a:solidFill>
                  <a:srgbClr val="00A89F"/>
                </a:solidFill>
                <a:effectLst/>
                <a:uLnTx/>
                <a:uFillTx/>
                <a:latin typeface="Arial" panose="020B0604020202020204"/>
                <a:ea typeface="+mj-ea"/>
                <a:cs typeface="+mj-cs"/>
              </a:rPr>
              <a:t>Looking</a:t>
            </a:r>
            <a:r>
              <a:rPr kumimoji="0" lang="nb-NO" altLang="nb-NO" sz="2800" b="0" i="0" u="none" strike="noStrike" kern="1200" cap="none" spc="0" normalizeH="0" baseline="0" noProof="0">
                <a:ln>
                  <a:noFill/>
                </a:ln>
                <a:solidFill>
                  <a:srgbClr val="00A89F"/>
                </a:solidFill>
                <a:effectLst/>
                <a:uLnTx/>
                <a:uFillTx/>
                <a:latin typeface="Arial" panose="020B0604020202020204"/>
                <a:ea typeface="+mj-ea"/>
                <a:cs typeface="+mj-cs"/>
              </a:rPr>
              <a:t> forward!</a:t>
            </a:r>
          </a:p>
        </p:txBody>
      </p:sp>
      <p:sp>
        <p:nvSpPr>
          <p:cNvPr id="9" name="TextBox 8">
            <a:extLst>
              <a:ext uri="{FF2B5EF4-FFF2-40B4-BE49-F238E27FC236}">
                <a16:creationId xmlns:a16="http://schemas.microsoft.com/office/drawing/2014/main" id="{B87C4514-8AC7-6665-BE27-552300965F81}"/>
              </a:ext>
            </a:extLst>
          </p:cNvPr>
          <p:cNvSpPr txBox="1"/>
          <p:nvPr/>
        </p:nvSpPr>
        <p:spPr>
          <a:xfrm>
            <a:off x="3031121" y="6429573"/>
            <a:ext cx="6102350" cy="307777"/>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26981">
                    <a:lumMod val="75000"/>
                  </a:srgbClr>
                </a:solidFill>
                <a:effectLst/>
                <a:uLnTx/>
                <a:uFillTx/>
                <a:latin typeface="Arial" panose="020B0604020202020204"/>
                <a:ea typeface="+mn-ea"/>
                <a:cs typeface="Arial"/>
              </a:rPr>
              <a:t>Confidential</a:t>
            </a:r>
            <a:endParaRPr kumimoji="0" lang="en-US" sz="1800" b="0" i="0" u="none" strike="noStrike" kern="1200" cap="none" spc="0" normalizeH="0" baseline="0" noProof="0">
              <a:ln>
                <a:noFill/>
              </a:ln>
              <a:solidFill>
                <a:srgbClr val="526981">
                  <a:lumMod val="75000"/>
                </a:srgb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705841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a:solidFill>
                  <a:schemeClr val="bg1"/>
                </a:solidFill>
                <a:latin typeface="Arial"/>
                <a:cs typeface="Arial"/>
              </a:rPr>
              <a:t>Introduction to Bulk Infrastructure</a:t>
            </a:r>
            <a:endParaRPr lang="en-US" altLang="nb-NO" sz="2000">
              <a:solidFill>
                <a:schemeClr val="bg1"/>
              </a:solidFill>
              <a:cs typeface="Arial"/>
            </a:endParaRPr>
          </a:p>
          <a:p>
            <a:pPr marL="457200" indent="-457200" eaLnBrk="1" hangingPunct="1">
              <a:buAutoNum type="arabicPeriod"/>
            </a:pPr>
            <a:r>
              <a:rPr lang="en-US" altLang="nb-NO" sz="2000">
                <a:solidFill>
                  <a:schemeClr val="bg1"/>
                </a:solidFill>
                <a:latin typeface="Arial"/>
                <a:cs typeface="Arial"/>
              </a:rPr>
              <a:t>Sustainability Framework</a:t>
            </a:r>
            <a:endParaRPr lang="en-US" altLang="nb-NO" sz="2000">
              <a:solidFill>
                <a:schemeClr val="bg1"/>
              </a:solidFill>
              <a:cs typeface="Arial"/>
            </a:endParaRPr>
          </a:p>
          <a:p>
            <a:pPr marL="843280" lvl="1" indent="-457200">
              <a:buAutoNum type="alphaLcParenR"/>
            </a:pPr>
            <a:r>
              <a:rPr lang="en-US" altLang="nb-NO" sz="1600">
                <a:solidFill>
                  <a:schemeClr val="bg1"/>
                </a:solidFill>
                <a:latin typeface="Arial"/>
                <a:cs typeface="Arial"/>
              </a:rPr>
              <a:t>Location</a:t>
            </a:r>
          </a:p>
          <a:p>
            <a:pPr marL="843280" lvl="1" indent="-457200">
              <a:buAutoNum type="alphaLcParenR"/>
            </a:pPr>
            <a:r>
              <a:rPr lang="en-US" altLang="nb-NO" sz="1600">
                <a:solidFill>
                  <a:schemeClr val="bg1"/>
                </a:solidFill>
                <a:latin typeface="Arial"/>
                <a:cs typeface="Arial"/>
              </a:rPr>
              <a:t>Asset</a:t>
            </a:r>
          </a:p>
          <a:p>
            <a:pPr marL="843280" lvl="1" indent="-457200">
              <a:buAutoNum type="alphaLcParenR"/>
            </a:pPr>
            <a:r>
              <a:rPr lang="en-US" altLang="nb-NO" sz="1600">
                <a:solidFill>
                  <a:schemeClr val="bg1"/>
                </a:solidFill>
                <a:latin typeface="Arial"/>
                <a:cs typeface="Arial"/>
              </a:rPr>
              <a:t>Ecosystem</a:t>
            </a:r>
          </a:p>
          <a:p>
            <a:pPr marL="843280" lvl="1" indent="-457200">
              <a:buAutoNum type="alphaLcParenR"/>
            </a:pPr>
            <a:r>
              <a:rPr lang="en-US" altLang="nb-NO" sz="1600">
                <a:solidFill>
                  <a:schemeClr val="bg1"/>
                </a:solidFill>
                <a:latin typeface="Arial"/>
                <a:cs typeface="Arial"/>
              </a:rPr>
              <a:t>Society</a:t>
            </a:r>
          </a:p>
          <a:p>
            <a:pPr marL="457200" indent="-457200">
              <a:buAutoNum type="arabicPeriod"/>
            </a:pPr>
            <a:r>
              <a:rPr lang="en-US" altLang="nb-NO" sz="2000">
                <a:solidFill>
                  <a:schemeClr val="bg1"/>
                </a:solidFill>
                <a:latin typeface="Arial"/>
                <a:cs typeface="Arial"/>
              </a:rPr>
              <a:t>Climate Budget and reporting</a:t>
            </a:r>
            <a:endParaRPr lang="en-US">
              <a:solidFill>
                <a:schemeClr val="bg1"/>
              </a:solidFill>
            </a:endParaRPr>
          </a:p>
          <a:p>
            <a:pPr marL="457200" indent="-457200" eaLnBrk="1" hangingPunct="1">
              <a:buAutoNum type="arabicPeriod"/>
            </a:pPr>
            <a:r>
              <a:rPr lang="en-US" altLang="nb-NO" sz="2000">
                <a:solidFill>
                  <a:schemeClr val="bg1"/>
                </a:solidFill>
                <a:latin typeface="Arial"/>
                <a:cs typeface="Arial"/>
              </a:rPr>
              <a:t>Finding solutions</a:t>
            </a:r>
          </a:p>
          <a:p>
            <a:pPr marL="457200" indent="-457200" eaLnBrk="1" hangingPunct="1">
              <a:buAutoNum type="arabicPeriod"/>
            </a:pPr>
            <a:endParaRPr lang="en-US" altLang="nb-NO" sz="2000">
              <a:solidFill>
                <a:schemeClr val="bg1"/>
              </a:solidFill>
              <a:cs typeface="Arial" panose="020B0604020202020204" pitchFamily="34" charset="0"/>
            </a:endParaRPr>
          </a:p>
        </p:txBody>
      </p:sp>
      <p:sp>
        <p:nvSpPr>
          <p:cNvPr id="6" name="Rectangle 1">
            <a:extLst>
              <a:ext uri="{FF2B5EF4-FFF2-40B4-BE49-F238E27FC236}">
                <a16:creationId xmlns:a16="http://schemas.microsoft.com/office/drawing/2014/main" id="{B51EF0DE-4C1C-E2F6-96E1-D58F47B7B81E}"/>
              </a:ext>
            </a:extLst>
          </p:cNvPr>
          <p:cNvSpPr/>
          <p:nvPr/>
        </p:nvSpPr>
        <p:spPr>
          <a:xfrm>
            <a:off x="1239044" y="2564055"/>
            <a:ext cx="5302250" cy="30042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err="1"/>
          </a:p>
        </p:txBody>
      </p:sp>
    </p:spTree>
    <p:extLst>
      <p:ext uri="{BB962C8B-B14F-4D97-AF65-F5344CB8AC3E}">
        <p14:creationId xmlns:p14="http://schemas.microsoft.com/office/powerpoint/2010/main" val="31896119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AA3A1F4-9353-42B8-A1D3-EAC4B8198E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9" imgH="375" progId="TCLayout.ActiveDocument.1">
                  <p:embed/>
                </p:oleObj>
              </mc:Choice>
              <mc:Fallback>
                <p:oleObj name="think-cell Slide" r:id="rId4" imgW="369" imgH="375" progId="TCLayout.ActiveDocument.1">
                  <p:embed/>
                  <p:pic>
                    <p:nvPicPr>
                      <p:cNvPr id="16" name="Object 15" hidden="1">
                        <a:extLst>
                          <a:ext uri="{FF2B5EF4-FFF2-40B4-BE49-F238E27FC236}">
                            <a16:creationId xmlns:a16="http://schemas.microsoft.com/office/drawing/2014/main" id="{FAA3A1F4-9353-42B8-A1D3-EAC4B8198E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computer, subway&#10;&#10;Description automatically generated">
            <a:extLst>
              <a:ext uri="{FF2B5EF4-FFF2-40B4-BE49-F238E27FC236}">
                <a16:creationId xmlns:a16="http://schemas.microsoft.com/office/drawing/2014/main" id="{67CDF301-42C1-4FA4-9A5A-9A7AC1068B4D}"/>
              </a:ext>
            </a:extLst>
          </p:cNvPr>
          <p:cNvPicPr>
            <a:picLocks noChangeAspect="1"/>
          </p:cNvPicPr>
          <p:nvPr/>
        </p:nvPicPr>
        <p:blipFill rotWithShape="1">
          <a:blip r:embed="rId6">
            <a:extLst>
              <a:ext uri="{28A0092B-C50C-407E-A947-70E740481C1C}">
                <a14:useLocalDpi xmlns:a14="http://schemas.microsoft.com/office/drawing/2010/main"/>
              </a:ext>
            </a:extLst>
          </a:blip>
          <a:srcRect l="14606" r="42695"/>
          <a:stretch/>
        </p:blipFill>
        <p:spPr>
          <a:xfrm>
            <a:off x="8127998" y="0"/>
            <a:ext cx="4064001" cy="6345238"/>
          </a:xfrm>
          <a:prstGeom prst="rect">
            <a:avLst/>
          </a:prstGeom>
        </p:spPr>
      </p:pic>
      <p:pic>
        <p:nvPicPr>
          <p:cNvPr id="7" name="Picture 6" descr="A picture containing grass, tree, plant, forest&#10;&#10;Description automatically generated">
            <a:extLst>
              <a:ext uri="{FF2B5EF4-FFF2-40B4-BE49-F238E27FC236}">
                <a16:creationId xmlns:a16="http://schemas.microsoft.com/office/drawing/2014/main" id="{8A6B1F43-3737-40B9-BE54-AE34C926A838}"/>
              </a:ext>
            </a:extLst>
          </p:cNvPr>
          <p:cNvPicPr>
            <a:picLocks noChangeAspect="1"/>
          </p:cNvPicPr>
          <p:nvPr/>
        </p:nvPicPr>
        <p:blipFill rotWithShape="1">
          <a:blip r:embed="rId7">
            <a:extLst>
              <a:ext uri="{28A0092B-C50C-407E-A947-70E740481C1C}">
                <a14:useLocalDpi xmlns:a14="http://schemas.microsoft.com/office/drawing/2010/main"/>
              </a:ext>
            </a:extLst>
          </a:blip>
          <a:srcRect l="38449" r="18843"/>
          <a:stretch/>
        </p:blipFill>
        <p:spPr>
          <a:xfrm>
            <a:off x="4064000" y="0"/>
            <a:ext cx="4064000" cy="6345238"/>
          </a:xfrm>
          <a:prstGeom prst="rect">
            <a:avLst/>
          </a:prstGeom>
        </p:spPr>
      </p:pic>
      <p:pic>
        <p:nvPicPr>
          <p:cNvPr id="8" name="Picture 7">
            <a:extLst>
              <a:ext uri="{FF2B5EF4-FFF2-40B4-BE49-F238E27FC236}">
                <a16:creationId xmlns:a16="http://schemas.microsoft.com/office/drawing/2014/main" id="{D3EC1687-00A4-45A1-B93F-DFCE184FE93F}"/>
              </a:ext>
            </a:extLst>
          </p:cNvPr>
          <p:cNvPicPr>
            <a:picLocks noChangeAspect="1"/>
          </p:cNvPicPr>
          <p:nvPr/>
        </p:nvPicPr>
        <p:blipFill rotWithShape="1">
          <a:blip r:embed="rId8">
            <a:extLst>
              <a:ext uri="{28A0092B-C50C-407E-A947-70E740481C1C}">
                <a14:useLocalDpi xmlns:a14="http://schemas.microsoft.com/office/drawing/2010/main"/>
              </a:ext>
            </a:extLst>
          </a:blip>
          <a:srcRect l="38414" t="672" r="26141" b="668"/>
          <a:stretch/>
        </p:blipFill>
        <p:spPr>
          <a:xfrm>
            <a:off x="0" y="1"/>
            <a:ext cx="4064000" cy="6345238"/>
          </a:xfrm>
          <a:prstGeom prst="rect">
            <a:avLst/>
          </a:prstGeom>
        </p:spPr>
      </p:pic>
      <p:sp>
        <p:nvSpPr>
          <p:cNvPr id="5" name="Slide Number Placeholder 4">
            <a:extLst>
              <a:ext uri="{FF2B5EF4-FFF2-40B4-BE49-F238E27FC236}">
                <a16:creationId xmlns:a16="http://schemas.microsoft.com/office/drawing/2014/main" id="{C45BAF21-073B-4D28-A4C4-A7D40219818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A6C693-FA55-4929-8F02-9C5C1D56A297}" type="slidenum">
              <a:rPr kumimoji="0" lang="en-US"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object 5">
            <a:extLst>
              <a:ext uri="{FF2B5EF4-FFF2-40B4-BE49-F238E27FC236}">
                <a16:creationId xmlns:a16="http://schemas.microsoft.com/office/drawing/2014/main" id="{60315E28-3987-4375-9472-1DE0A9AB73FF}"/>
              </a:ext>
            </a:extLst>
          </p:cNvPr>
          <p:cNvSpPr/>
          <p:nvPr/>
        </p:nvSpPr>
        <p:spPr>
          <a:xfrm>
            <a:off x="2564147" y="2390775"/>
            <a:ext cx="1360170" cy="2076450"/>
          </a:xfrm>
          <a:custGeom>
            <a:avLst/>
            <a:gdLst/>
            <a:ahLst/>
            <a:cxnLst/>
            <a:rect l="l" t="t"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14" name="object 5">
            <a:extLst>
              <a:ext uri="{FF2B5EF4-FFF2-40B4-BE49-F238E27FC236}">
                <a16:creationId xmlns:a16="http://schemas.microsoft.com/office/drawing/2014/main" id="{ABC2A838-B1EC-4428-B453-2FF3E64BF604}"/>
              </a:ext>
            </a:extLst>
          </p:cNvPr>
          <p:cNvSpPr/>
          <p:nvPr/>
        </p:nvSpPr>
        <p:spPr>
          <a:xfrm rot="10800000">
            <a:off x="8267683" y="2390775"/>
            <a:ext cx="1360170" cy="2076450"/>
          </a:xfrm>
          <a:custGeom>
            <a:avLst/>
            <a:gdLst/>
            <a:ahLst/>
            <a:cxnLst/>
            <a:rect l="l" t="t" r="r" b="b"/>
            <a:pathLst>
              <a:path w="1360170" h="2076450">
                <a:moveTo>
                  <a:pt x="737115" y="2075849"/>
                </a:moveTo>
                <a:lnTo>
                  <a:pt x="0" y="2075849"/>
                </a:lnTo>
                <a:lnTo>
                  <a:pt x="620602" y="1036736"/>
                </a:lnTo>
                <a:lnTo>
                  <a:pt x="0" y="0"/>
                </a:lnTo>
                <a:lnTo>
                  <a:pt x="737115" y="0"/>
                </a:lnTo>
                <a:lnTo>
                  <a:pt x="1360095" y="1036736"/>
                </a:lnTo>
                <a:lnTo>
                  <a:pt x="737115" y="2075849"/>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C2C3C"/>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5F30F0DA-8AF0-4DCD-970C-64F72EB811E9}"/>
              </a:ext>
            </a:extLst>
          </p:cNvPr>
          <p:cNvGrpSpPr/>
          <p:nvPr/>
        </p:nvGrpSpPr>
        <p:grpSpPr>
          <a:xfrm>
            <a:off x="0" y="0"/>
            <a:ext cx="12192000" cy="6345238"/>
            <a:chOff x="0" y="-393405"/>
            <a:chExt cx="12192000" cy="6936168"/>
          </a:xfrm>
        </p:grpSpPr>
        <p:cxnSp>
          <p:nvCxnSpPr>
            <p:cNvPr id="9" name="Straight Connector 8">
              <a:extLst>
                <a:ext uri="{FF2B5EF4-FFF2-40B4-BE49-F238E27FC236}">
                  <a16:creationId xmlns:a16="http://schemas.microsoft.com/office/drawing/2014/main" id="{301667A7-9AFD-4D0D-85F5-DD9C6DDE472B}"/>
                </a:ext>
              </a:extLst>
            </p:cNvPr>
            <p:cNvCxnSpPr>
              <a:cxnSpLocks/>
            </p:cNvCxnSpPr>
            <p:nvPr/>
          </p:nvCxnSpPr>
          <p:spPr>
            <a:xfrm flipV="1">
              <a:off x="0" y="-393405"/>
              <a:ext cx="0" cy="69361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5870C70-7AE0-48CA-985C-CBD8F196D764}"/>
                </a:ext>
              </a:extLst>
            </p:cNvPr>
            <p:cNvCxnSpPr>
              <a:cxnSpLocks/>
            </p:cNvCxnSpPr>
            <p:nvPr/>
          </p:nvCxnSpPr>
          <p:spPr>
            <a:xfrm flipV="1">
              <a:off x="4064000" y="-393405"/>
              <a:ext cx="0" cy="69361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6580196-24C2-46D4-98AA-701ED1C9F151}"/>
                </a:ext>
              </a:extLst>
            </p:cNvPr>
            <p:cNvCxnSpPr>
              <a:cxnSpLocks/>
            </p:cNvCxnSpPr>
            <p:nvPr/>
          </p:nvCxnSpPr>
          <p:spPr>
            <a:xfrm flipV="1">
              <a:off x="8128000" y="-393405"/>
              <a:ext cx="0" cy="69361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5D45DBF-4A2A-439B-A6C4-61D4DB59DFCE}"/>
                </a:ext>
              </a:extLst>
            </p:cNvPr>
            <p:cNvCxnSpPr>
              <a:cxnSpLocks/>
            </p:cNvCxnSpPr>
            <p:nvPr/>
          </p:nvCxnSpPr>
          <p:spPr>
            <a:xfrm flipV="1">
              <a:off x="12192000" y="-393405"/>
              <a:ext cx="0" cy="69361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 name="object 2">
            <a:extLst>
              <a:ext uri="{FF2B5EF4-FFF2-40B4-BE49-F238E27FC236}">
                <a16:creationId xmlns:a16="http://schemas.microsoft.com/office/drawing/2014/main" id="{2EDC56D9-EC04-45EF-8C58-46333ACCBCEA}"/>
              </a:ext>
            </a:extLst>
          </p:cNvPr>
          <p:cNvGrpSpPr/>
          <p:nvPr/>
        </p:nvGrpSpPr>
        <p:grpSpPr>
          <a:xfrm>
            <a:off x="11002424" y="-4195"/>
            <a:ext cx="1163955" cy="1342390"/>
            <a:chOff x="11002424" y="0"/>
            <a:chExt cx="1163955" cy="1342390"/>
          </a:xfrm>
        </p:grpSpPr>
        <p:sp>
          <p:nvSpPr>
            <p:cNvPr id="18" name="object 3">
              <a:extLst>
                <a:ext uri="{FF2B5EF4-FFF2-40B4-BE49-F238E27FC236}">
                  <a16:creationId xmlns:a16="http://schemas.microsoft.com/office/drawing/2014/main" id="{121CC302-F429-4164-A149-848CD476482F}"/>
                </a:ext>
              </a:extLst>
            </p:cNvPr>
            <p:cNvSpPr/>
            <p:nvPr/>
          </p:nvSpPr>
          <p:spPr>
            <a:xfrm>
              <a:off x="11004596" y="673297"/>
              <a:ext cx="1162050" cy="669290"/>
            </a:xfrm>
            <a:custGeom>
              <a:avLst/>
              <a:gdLst/>
              <a:ahLst/>
              <a:cxnLst/>
              <a:rect l="l" t="t" r="r" b="b"/>
              <a:pathLst>
                <a:path w="1162050" h="669290">
                  <a:moveTo>
                    <a:pt x="765771" y="669023"/>
                  </a:moveTo>
                  <a:lnTo>
                    <a:pt x="0" y="669023"/>
                  </a:lnTo>
                  <a:lnTo>
                    <a:pt x="382649" y="0"/>
                  </a:lnTo>
                  <a:lnTo>
                    <a:pt x="1161600" y="1881"/>
                  </a:lnTo>
                  <a:lnTo>
                    <a:pt x="765771" y="669023"/>
                  </a:lnTo>
                  <a:close/>
                </a:path>
              </a:pathLst>
            </a:custGeom>
            <a:solidFill>
              <a:schemeClr val="accent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19" name="object 4">
              <a:extLst>
                <a:ext uri="{FF2B5EF4-FFF2-40B4-BE49-F238E27FC236}">
                  <a16:creationId xmlns:a16="http://schemas.microsoft.com/office/drawing/2014/main" id="{B76C03D0-20A0-4843-B3A3-2ED99640F79C}"/>
                </a:ext>
              </a:extLst>
            </p:cNvPr>
            <p:cNvSpPr/>
            <p:nvPr/>
          </p:nvSpPr>
          <p:spPr>
            <a:xfrm>
              <a:off x="11002424" y="0"/>
              <a:ext cx="1163955" cy="1342390"/>
            </a:xfrm>
            <a:custGeom>
              <a:avLst/>
              <a:gdLst/>
              <a:ahLst/>
              <a:cxnLst/>
              <a:rect l="l" t="t" r="r" b="b"/>
              <a:pathLst>
                <a:path w="1163954" h="1342390">
                  <a:moveTo>
                    <a:pt x="767940" y="1342320"/>
                  </a:moveTo>
                  <a:lnTo>
                    <a:pt x="0" y="0"/>
                  </a:lnTo>
                  <a:lnTo>
                    <a:pt x="763215" y="0"/>
                  </a:lnTo>
                  <a:lnTo>
                    <a:pt x="1163769" y="675179"/>
                  </a:lnTo>
                  <a:lnTo>
                    <a:pt x="767940" y="1342320"/>
                  </a:lnTo>
                  <a:close/>
                </a:path>
              </a:pathLst>
            </a:custGeom>
            <a:solidFill>
              <a:schemeClr val="accent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C2C3C"/>
                </a:solidFill>
                <a:effectLst/>
                <a:uLnTx/>
                <a:uFillTx/>
                <a:latin typeface="Arial" panose="020B0604020202020204"/>
                <a:ea typeface="+mn-ea"/>
                <a:cs typeface="+mn-cs"/>
              </a:endParaRPr>
            </a:p>
          </p:txBody>
        </p:sp>
      </p:grpSp>
      <p:sp>
        <p:nvSpPr>
          <p:cNvPr id="4" name="Tittel 1">
            <a:extLst>
              <a:ext uri="{FF2B5EF4-FFF2-40B4-BE49-F238E27FC236}">
                <a16:creationId xmlns:a16="http://schemas.microsoft.com/office/drawing/2014/main" id="{2B7A5AC1-012C-44CE-E368-84572B704F7F}"/>
              </a:ext>
            </a:extLst>
          </p:cNvPr>
          <p:cNvSpPr>
            <a:spLocks noGrp="1" noChangeArrowheads="1"/>
          </p:cNvSpPr>
          <p:nvPr>
            <p:ph type="title"/>
          </p:nvPr>
        </p:nvSpPr>
        <p:spPr>
          <a:xfrm>
            <a:off x="4028549" y="3106605"/>
            <a:ext cx="5703536" cy="590931"/>
          </a:xfrm>
        </p:spPr>
        <p:txBody>
          <a:bodyPr/>
          <a:lstStyle/>
          <a:p>
            <a:pPr eaLnBrk="1" hangingPunct="1"/>
            <a:r>
              <a:rPr lang="nb-NO" altLang="en-US" sz="3600" err="1">
                <a:solidFill>
                  <a:schemeClr val="bg1"/>
                </a:solidFill>
              </a:rPr>
              <a:t>Solving</a:t>
            </a:r>
            <a:r>
              <a:rPr lang="nb-NO" altLang="en-US" sz="3600">
                <a:solidFill>
                  <a:schemeClr val="bg1"/>
                </a:solidFill>
              </a:rPr>
              <a:t> a problem</a:t>
            </a:r>
          </a:p>
        </p:txBody>
      </p:sp>
    </p:spTree>
    <p:extLst>
      <p:ext uri="{BB962C8B-B14F-4D97-AF65-F5344CB8AC3E}">
        <p14:creationId xmlns:p14="http://schemas.microsoft.com/office/powerpoint/2010/main" val="742837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3ED5FB-E98C-DB18-BB3A-D57EB6461D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8" name="think-cell data - do not delete" hidden="1">
                        <a:extLst>
                          <a:ext uri="{FF2B5EF4-FFF2-40B4-BE49-F238E27FC236}">
                            <a16:creationId xmlns:a16="http://schemas.microsoft.com/office/drawing/2014/main" id="{C33ED5FB-E98C-DB18-BB3A-D57EB6461D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5FC06E9-0C91-D715-E65A-E0D4B30BF7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8732E276-19EF-BDFD-F73C-782A7A13794A}"/>
              </a:ext>
            </a:extLst>
          </p:cNvPr>
          <p:cNvSpPr>
            <a:spLocks/>
          </p:cNvSpPr>
          <p:nvPr/>
        </p:nvSpPr>
        <p:spPr>
          <a:xfrm>
            <a:off x="0" y="-1"/>
            <a:ext cx="12192000"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8F40D40-2C61-2A69-73D4-DDFA5730815B}"/>
              </a:ext>
            </a:extLst>
          </p:cNvPr>
          <p:cNvSpPr>
            <a:spLocks noGrp="1"/>
          </p:cNvSpPr>
          <p:nvPr>
            <p:ph type="title"/>
          </p:nvPr>
        </p:nvSpPr>
        <p:spPr>
          <a:xfrm>
            <a:off x="600075" y="409575"/>
            <a:ext cx="10493375" cy="867930"/>
          </a:xfrm>
        </p:spPr>
        <p:txBody>
          <a:bodyPr vert="horz"/>
          <a:lstStyle/>
          <a:p>
            <a:r>
              <a:rPr lang="en-GB" dirty="0"/>
              <a:t>Bulk Infrastructure Group is a leading provider of sustainable infrastructure </a:t>
            </a:r>
          </a:p>
        </p:txBody>
      </p:sp>
      <p:sp>
        <p:nvSpPr>
          <p:cNvPr id="5" name="Slide Number Placeholder 4">
            <a:extLst>
              <a:ext uri="{FF2B5EF4-FFF2-40B4-BE49-F238E27FC236}">
                <a16:creationId xmlns:a16="http://schemas.microsoft.com/office/drawing/2014/main" id="{5C8F8E4F-E689-64D6-60FA-813FC12CAE1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9A8FBAF-0888-4EBA-BABF-C1B1411D4DB4}" type="slidenum">
              <a:rPr kumimoji="0" lang="en-GB"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3C69D3AC-1FF6-7C31-4B0D-6FD3E830A922}"/>
              </a:ext>
            </a:extLst>
          </p:cNvPr>
          <p:cNvSpPr>
            <a:spLocks/>
          </p:cNvSpPr>
          <p:nvPr/>
        </p:nvSpPr>
        <p:spPr>
          <a:xfrm>
            <a:off x="8937233" y="1449388"/>
            <a:ext cx="2559441" cy="4638574"/>
          </a:xfrm>
          <a:prstGeom prst="rect">
            <a:avLst/>
          </a:prstGeom>
          <a:solidFill>
            <a:schemeClr val="accent6">
              <a:lumMod val="20000"/>
              <a:lumOff val="80000"/>
              <a:alpha val="70000"/>
            </a:schemeClr>
          </a:solidFill>
          <a:ln w="9525">
            <a:solidFill>
              <a:schemeClr val="accent1"/>
            </a:solidFill>
            <a:prstDash val="dash"/>
          </a:ln>
          <a:effectLst>
            <a:outerShdw blurRad="50800" dist="38100" dir="2700000" algn="t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6B9100E6-ADCD-FF8B-FF80-D565C0D0DCCF}"/>
              </a:ext>
            </a:extLst>
          </p:cNvPr>
          <p:cNvGrpSpPr>
            <a:grpSpLocks/>
          </p:cNvGrpSpPr>
          <p:nvPr/>
        </p:nvGrpSpPr>
        <p:grpSpPr>
          <a:xfrm>
            <a:off x="9465902" y="2401094"/>
            <a:ext cx="1502100" cy="780209"/>
            <a:chOff x="9466195" y="2269276"/>
            <a:chExt cx="1502100" cy="780209"/>
          </a:xfrm>
        </p:grpSpPr>
        <p:pic>
          <p:nvPicPr>
            <p:cNvPr id="38" name="Graphic 37">
              <a:extLst>
                <a:ext uri="{FF2B5EF4-FFF2-40B4-BE49-F238E27FC236}">
                  <a16:creationId xmlns:a16="http://schemas.microsoft.com/office/drawing/2014/main" id="{93EA609B-8F9C-1E91-7772-1CC51A5891DA}"/>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66195" y="2334689"/>
              <a:ext cx="649382" cy="649382"/>
            </a:xfrm>
            <a:prstGeom prst="rect">
              <a:avLst/>
            </a:prstGeom>
          </p:spPr>
        </p:pic>
        <p:pic>
          <p:nvPicPr>
            <p:cNvPr id="39" name="Graphic 38">
              <a:extLst>
                <a:ext uri="{FF2B5EF4-FFF2-40B4-BE49-F238E27FC236}">
                  <a16:creationId xmlns:a16="http://schemas.microsoft.com/office/drawing/2014/main" id="{07935E36-3826-BBFA-FF9D-1D60FEF1F347}"/>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188086" y="2269276"/>
              <a:ext cx="780209" cy="780209"/>
            </a:xfrm>
            <a:prstGeom prst="rect">
              <a:avLst/>
            </a:prstGeom>
          </p:spPr>
        </p:pic>
      </p:grpSp>
      <p:sp>
        <p:nvSpPr>
          <p:cNvPr id="40" name="Rectangle 39">
            <a:extLst>
              <a:ext uri="{FF2B5EF4-FFF2-40B4-BE49-F238E27FC236}">
                <a16:creationId xmlns:a16="http://schemas.microsoft.com/office/drawing/2014/main" id="{7C85DCAC-FBC6-E5F3-990F-23BB9188A5ED}"/>
              </a:ext>
            </a:extLst>
          </p:cNvPr>
          <p:cNvSpPr>
            <a:spLocks/>
          </p:cNvSpPr>
          <p:nvPr/>
        </p:nvSpPr>
        <p:spPr>
          <a:xfrm>
            <a:off x="8937234" y="1723699"/>
            <a:ext cx="2559441" cy="489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srgbClr val="00A89F"/>
                </a:solidFill>
                <a:effectLst/>
                <a:uLnTx/>
                <a:uFillTx/>
                <a:latin typeface="Arial" panose="020B0604020202020204"/>
                <a:ea typeface="+mn-ea"/>
                <a:cs typeface="+mn-cs"/>
              </a:rPr>
              <a:t>Key investment criteria</a:t>
            </a:r>
          </a:p>
        </p:txBody>
      </p:sp>
      <p:sp>
        <p:nvSpPr>
          <p:cNvPr id="44" name="Arrow: Chevron 43">
            <a:extLst>
              <a:ext uri="{FF2B5EF4-FFF2-40B4-BE49-F238E27FC236}">
                <a16:creationId xmlns:a16="http://schemas.microsoft.com/office/drawing/2014/main" id="{8A471651-EB2D-A6F5-FAA5-7A59C0F23190}"/>
              </a:ext>
            </a:extLst>
          </p:cNvPr>
          <p:cNvSpPr>
            <a:spLocks/>
          </p:cNvSpPr>
          <p:nvPr/>
        </p:nvSpPr>
        <p:spPr>
          <a:xfrm rot="5400000">
            <a:off x="10069576" y="2199145"/>
            <a:ext cx="294755" cy="2481192"/>
          </a:xfrm>
          <a:prstGeom prst="chevron">
            <a:avLst>
              <a:gd name="adj" fmla="val 838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D8D5CEB9-4263-87C8-64DC-6551074C3ECB}"/>
              </a:ext>
            </a:extLst>
          </p:cNvPr>
          <p:cNvSpPr txBox="1">
            <a:spLocks/>
          </p:cNvSpPr>
          <p:nvPr/>
        </p:nvSpPr>
        <p:spPr>
          <a:xfrm>
            <a:off x="9515373" y="3784681"/>
            <a:ext cx="170163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A89F"/>
                </a:solidFill>
                <a:effectLst/>
                <a:uLnTx/>
                <a:uFillTx/>
                <a:latin typeface="Arial" panose="020B0604020202020204" pitchFamily="34" charset="0"/>
                <a:ea typeface="+mn-ea"/>
                <a:cs typeface="+mn-cs"/>
              </a:rPr>
              <a:t>Sustainable</a:t>
            </a:r>
          </a:p>
        </p:txBody>
      </p:sp>
      <p:sp>
        <p:nvSpPr>
          <p:cNvPr id="51" name="TextBox 50">
            <a:extLst>
              <a:ext uri="{FF2B5EF4-FFF2-40B4-BE49-F238E27FC236}">
                <a16:creationId xmlns:a16="http://schemas.microsoft.com/office/drawing/2014/main" id="{FBC58E86-425F-C6A2-FD01-58E9E04081B9}"/>
              </a:ext>
            </a:extLst>
          </p:cNvPr>
          <p:cNvSpPr txBox="1">
            <a:spLocks/>
          </p:cNvSpPr>
          <p:nvPr/>
        </p:nvSpPr>
        <p:spPr>
          <a:xfrm>
            <a:off x="9519281" y="4347922"/>
            <a:ext cx="170163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A89F"/>
                </a:solidFill>
                <a:effectLst/>
                <a:uLnTx/>
                <a:uFillTx/>
                <a:latin typeface="Arial" panose="020B0604020202020204" pitchFamily="34" charset="0"/>
                <a:ea typeface="+mn-ea"/>
                <a:cs typeface="+mn-cs"/>
              </a:rPr>
              <a:t>Infrastructure</a:t>
            </a:r>
          </a:p>
        </p:txBody>
      </p:sp>
      <p:sp>
        <p:nvSpPr>
          <p:cNvPr id="52" name="TextBox 51">
            <a:extLst>
              <a:ext uri="{FF2B5EF4-FFF2-40B4-BE49-F238E27FC236}">
                <a16:creationId xmlns:a16="http://schemas.microsoft.com/office/drawing/2014/main" id="{CB064CA6-1674-A5E7-24FC-E08AB0DAD812}"/>
              </a:ext>
            </a:extLst>
          </p:cNvPr>
          <p:cNvSpPr txBox="1">
            <a:spLocks/>
          </p:cNvSpPr>
          <p:nvPr/>
        </p:nvSpPr>
        <p:spPr>
          <a:xfrm>
            <a:off x="9516577" y="4910901"/>
            <a:ext cx="170163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A89F"/>
                </a:solidFill>
                <a:effectLst/>
                <a:uLnTx/>
                <a:uFillTx/>
                <a:latin typeface="Arial" panose="020B0604020202020204" pitchFamily="34" charset="0"/>
                <a:ea typeface="+mn-ea"/>
                <a:cs typeface="+mn-cs"/>
              </a:rPr>
              <a:t>Scalable</a:t>
            </a:r>
          </a:p>
        </p:txBody>
      </p:sp>
      <p:sp>
        <p:nvSpPr>
          <p:cNvPr id="53" name="TextBox 52">
            <a:extLst>
              <a:ext uri="{FF2B5EF4-FFF2-40B4-BE49-F238E27FC236}">
                <a16:creationId xmlns:a16="http://schemas.microsoft.com/office/drawing/2014/main" id="{159B0038-F46D-5EDE-CE82-B25F4F0F9162}"/>
              </a:ext>
            </a:extLst>
          </p:cNvPr>
          <p:cNvSpPr txBox="1">
            <a:spLocks/>
          </p:cNvSpPr>
          <p:nvPr/>
        </p:nvSpPr>
        <p:spPr>
          <a:xfrm>
            <a:off x="9515373" y="5436662"/>
            <a:ext cx="170163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A89F"/>
                </a:solidFill>
                <a:effectLst/>
                <a:uLnTx/>
                <a:uFillTx/>
                <a:latin typeface="Arial" panose="020B0604020202020204" pitchFamily="34" charset="0"/>
                <a:ea typeface="+mn-ea"/>
                <a:cs typeface="+mn-cs"/>
              </a:rPr>
              <a:t>Nordics</a:t>
            </a:r>
          </a:p>
        </p:txBody>
      </p:sp>
      <p:pic>
        <p:nvPicPr>
          <p:cNvPr id="54" name="Graphic 53">
            <a:extLst>
              <a:ext uri="{FF2B5EF4-FFF2-40B4-BE49-F238E27FC236}">
                <a16:creationId xmlns:a16="http://schemas.microsoft.com/office/drawing/2014/main" id="{D99E9C37-D1D9-0A83-89F8-871C6D6586E7}"/>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089769" y="3793395"/>
            <a:ext cx="290349" cy="290349"/>
          </a:xfrm>
          <a:prstGeom prst="rect">
            <a:avLst/>
          </a:prstGeom>
        </p:spPr>
      </p:pic>
      <p:pic>
        <p:nvPicPr>
          <p:cNvPr id="55" name="Graphic 54">
            <a:extLst>
              <a:ext uri="{FF2B5EF4-FFF2-40B4-BE49-F238E27FC236}">
                <a16:creationId xmlns:a16="http://schemas.microsoft.com/office/drawing/2014/main" id="{643430F4-C71D-811D-E9CD-C2736F1E76C8}"/>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089769" y="4356636"/>
            <a:ext cx="290349" cy="290349"/>
          </a:xfrm>
          <a:prstGeom prst="rect">
            <a:avLst/>
          </a:prstGeom>
        </p:spPr>
      </p:pic>
      <p:pic>
        <p:nvPicPr>
          <p:cNvPr id="56" name="Graphic 55">
            <a:extLst>
              <a:ext uri="{FF2B5EF4-FFF2-40B4-BE49-F238E27FC236}">
                <a16:creationId xmlns:a16="http://schemas.microsoft.com/office/drawing/2014/main" id="{AE61E77B-619F-EC43-FA8B-9587922C5D8B}"/>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092508" y="4919615"/>
            <a:ext cx="290349" cy="290349"/>
          </a:xfrm>
          <a:prstGeom prst="rect">
            <a:avLst/>
          </a:prstGeom>
        </p:spPr>
      </p:pic>
      <p:pic>
        <p:nvPicPr>
          <p:cNvPr id="57" name="Graphic 56">
            <a:extLst>
              <a:ext uri="{FF2B5EF4-FFF2-40B4-BE49-F238E27FC236}">
                <a16:creationId xmlns:a16="http://schemas.microsoft.com/office/drawing/2014/main" id="{734BC379-112C-8AAE-8748-2D34653AA1A7}"/>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089769" y="5445376"/>
            <a:ext cx="290349" cy="290349"/>
          </a:xfrm>
          <a:prstGeom prst="rect">
            <a:avLst/>
          </a:prstGeom>
        </p:spPr>
      </p:pic>
      <p:sp>
        <p:nvSpPr>
          <p:cNvPr id="3" name="Rectangle 2">
            <a:extLst>
              <a:ext uri="{FF2B5EF4-FFF2-40B4-BE49-F238E27FC236}">
                <a16:creationId xmlns:a16="http://schemas.microsoft.com/office/drawing/2014/main" id="{436BAA44-2333-2007-7151-91A02DF68CC0}"/>
              </a:ext>
            </a:extLst>
          </p:cNvPr>
          <p:cNvSpPr>
            <a:spLocks/>
          </p:cNvSpPr>
          <p:nvPr/>
        </p:nvSpPr>
        <p:spPr>
          <a:xfrm>
            <a:off x="600074" y="1449388"/>
            <a:ext cx="5219700" cy="4638574"/>
          </a:xfrm>
          <a:prstGeom prst="rect">
            <a:avLst/>
          </a:prstGeom>
          <a:solidFill>
            <a:schemeClr val="accent6">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82EA632D-63AC-64D4-D0C8-7A92E4E6FCA1}"/>
              </a:ext>
            </a:extLst>
          </p:cNvPr>
          <p:cNvSpPr>
            <a:spLocks/>
          </p:cNvSpPr>
          <p:nvPr/>
        </p:nvSpPr>
        <p:spPr>
          <a:xfrm>
            <a:off x="6060961" y="1449388"/>
            <a:ext cx="2628000" cy="4638574"/>
          </a:xfrm>
          <a:prstGeom prst="rect">
            <a:avLst/>
          </a:prstGeom>
          <a:solidFill>
            <a:schemeClr val="accent6">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20" name="object 10">
            <a:extLst>
              <a:ext uri="{FF2B5EF4-FFF2-40B4-BE49-F238E27FC236}">
                <a16:creationId xmlns:a16="http://schemas.microsoft.com/office/drawing/2014/main" id="{E62D1386-8466-FEF4-90B6-B158AD84C91B}"/>
              </a:ext>
            </a:extLst>
          </p:cNvPr>
          <p:cNvSpPr>
            <a:spLocks/>
          </p:cNvSpPr>
          <p:nvPr/>
        </p:nvSpPr>
        <p:spPr>
          <a:xfrm>
            <a:off x="1790998" y="1511072"/>
            <a:ext cx="3406220" cy="1776468"/>
          </a:xfrm>
          <a:custGeom>
            <a:avLst/>
            <a:gdLst/>
            <a:ahLst/>
            <a:cxnLst/>
            <a:rect l="l" t="t" r="r" b="b"/>
            <a:pathLst>
              <a:path w="10800715" h="3780154">
                <a:moveTo>
                  <a:pt x="10800588" y="3776472"/>
                </a:moveTo>
                <a:lnTo>
                  <a:pt x="0" y="3776472"/>
                </a:lnTo>
                <a:lnTo>
                  <a:pt x="0" y="3779532"/>
                </a:lnTo>
                <a:lnTo>
                  <a:pt x="10800588" y="3779532"/>
                </a:lnTo>
                <a:lnTo>
                  <a:pt x="10800588" y="3776472"/>
                </a:lnTo>
                <a:close/>
              </a:path>
              <a:path w="10800715" h="3780154">
                <a:moveTo>
                  <a:pt x="10800588" y="0"/>
                </a:moveTo>
                <a:lnTo>
                  <a:pt x="0" y="0"/>
                </a:lnTo>
                <a:lnTo>
                  <a:pt x="0" y="3704844"/>
                </a:lnTo>
                <a:lnTo>
                  <a:pt x="10800588" y="3704844"/>
                </a:lnTo>
                <a:lnTo>
                  <a:pt x="10800588" y="0"/>
                </a:lnTo>
                <a:close/>
              </a:path>
            </a:pathLst>
          </a:custGeom>
          <a:no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64657"/>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9EB2E7EB-3784-845E-2B9C-3DD3C5A49B38}"/>
              </a:ext>
            </a:extLst>
          </p:cNvPr>
          <p:cNvSpPr>
            <a:spLocks/>
          </p:cNvSpPr>
          <p:nvPr/>
        </p:nvSpPr>
        <p:spPr>
          <a:xfrm>
            <a:off x="1858589" y="1553035"/>
            <a:ext cx="3406220" cy="1737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364657"/>
              </a:solidFill>
              <a:effectLst/>
              <a:uLnTx/>
              <a:uFillTx/>
              <a:latin typeface="Arial" panose="020B0604020202020204"/>
              <a:ea typeface="+mn-ea"/>
              <a:cs typeface="+mn-cs"/>
            </a:endParaRPr>
          </a:p>
        </p:txBody>
      </p:sp>
      <p:pic>
        <p:nvPicPr>
          <p:cNvPr id="41" name="Graphic 40">
            <a:extLst>
              <a:ext uri="{FF2B5EF4-FFF2-40B4-BE49-F238E27FC236}">
                <a16:creationId xmlns:a16="http://schemas.microsoft.com/office/drawing/2014/main" id="{A6BED18B-80C5-D802-383A-651462773165}"/>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008569" y="3695061"/>
            <a:ext cx="487017" cy="487017"/>
          </a:xfrm>
          <a:prstGeom prst="rect">
            <a:avLst/>
          </a:prstGeom>
        </p:spPr>
      </p:pic>
      <p:pic>
        <p:nvPicPr>
          <p:cNvPr id="42" name="Graphic 41">
            <a:extLst>
              <a:ext uri="{FF2B5EF4-FFF2-40B4-BE49-F238E27FC236}">
                <a16:creationId xmlns:a16="http://schemas.microsoft.com/office/drawing/2014/main" id="{8F4BF9F5-F964-5F0F-BCC6-42BA8EFC61FA}"/>
              </a:ext>
            </a:extLst>
          </p:cNvPr>
          <p:cNvPicPr>
            <a:picLocks noChangeAspect="1"/>
          </p:cNvPicPr>
          <p:nvPr/>
        </p:nvPicPr>
        <p:blipFill>
          <a:blip r:embed="rId15" cstate="hq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008569" y="4258564"/>
            <a:ext cx="486493" cy="486493"/>
          </a:xfrm>
          <a:prstGeom prst="rect">
            <a:avLst/>
          </a:prstGeom>
        </p:spPr>
      </p:pic>
      <p:pic>
        <p:nvPicPr>
          <p:cNvPr id="43" name="Graphic 42">
            <a:extLst>
              <a:ext uri="{FF2B5EF4-FFF2-40B4-BE49-F238E27FC236}">
                <a16:creationId xmlns:a16="http://schemas.microsoft.com/office/drawing/2014/main" id="{4C7D44E8-D3C8-BFF2-3784-B4988A1CE756}"/>
              </a:ext>
            </a:extLst>
          </p:cNvPr>
          <p:cNvPicPr>
            <a:picLocks noChangeAspect="1"/>
          </p:cNvPicPr>
          <p:nvPr/>
        </p:nvPicPr>
        <p:blipFill>
          <a:blip r:embed="rId17" cstate="hq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008569" y="4821543"/>
            <a:ext cx="486493" cy="486493"/>
          </a:xfrm>
          <a:prstGeom prst="rect">
            <a:avLst/>
          </a:prstGeom>
        </p:spPr>
      </p:pic>
      <p:grpSp>
        <p:nvGrpSpPr>
          <p:cNvPr id="45" name="Countrys">
            <a:extLst>
              <a:ext uri="{FF2B5EF4-FFF2-40B4-BE49-F238E27FC236}">
                <a16:creationId xmlns:a16="http://schemas.microsoft.com/office/drawing/2014/main" id="{2A713673-08A6-E648-839E-05B4741180D3}"/>
              </a:ext>
            </a:extLst>
          </p:cNvPr>
          <p:cNvGrpSpPr>
            <a:grpSpLocks/>
          </p:cNvGrpSpPr>
          <p:nvPr/>
        </p:nvGrpSpPr>
        <p:grpSpPr>
          <a:xfrm>
            <a:off x="9072943" y="5384522"/>
            <a:ext cx="422119" cy="412057"/>
            <a:chOff x="3761701" y="1821505"/>
            <a:chExt cx="3320379" cy="4520280"/>
          </a:xfrm>
        </p:grpSpPr>
        <p:sp>
          <p:nvSpPr>
            <p:cNvPr id="46" name="Norway">
              <a:extLst>
                <a:ext uri="{FF2B5EF4-FFF2-40B4-BE49-F238E27FC236}">
                  <a16:creationId xmlns:a16="http://schemas.microsoft.com/office/drawing/2014/main" id="{AEDC1D97-D222-78CC-20ED-5DF19F7F5B10}"/>
                </a:ext>
              </a:extLst>
            </p:cNvPr>
            <p:cNvSpPr>
              <a:spLocks/>
            </p:cNvSpPr>
            <p:nvPr/>
          </p:nvSpPr>
          <p:spPr bwMode="gray">
            <a:xfrm>
              <a:off x="3761701" y="1821505"/>
              <a:ext cx="2800707" cy="3453840"/>
            </a:xfrm>
            <a:custGeom>
              <a:avLst/>
              <a:gdLst/>
              <a:ahLst/>
              <a:cxnLst>
                <a:cxn ang="0">
                  <a:pos x="6014" y="2826"/>
                </a:cxn>
                <a:cxn ang="0">
                  <a:pos x="5207" y="3081"/>
                </a:cxn>
                <a:cxn ang="0">
                  <a:pos x="11117" y="1179"/>
                </a:cxn>
                <a:cxn ang="0">
                  <a:pos x="10461" y="841"/>
                </a:cxn>
                <a:cxn ang="0">
                  <a:pos x="10548" y="299"/>
                </a:cxn>
                <a:cxn ang="0">
                  <a:pos x="10084" y="444"/>
                </a:cxn>
                <a:cxn ang="0">
                  <a:pos x="9794" y="497"/>
                </a:cxn>
                <a:cxn ang="0">
                  <a:pos x="9129" y="1154"/>
                </a:cxn>
                <a:cxn ang="0">
                  <a:pos x="8852" y="303"/>
                </a:cxn>
                <a:cxn ang="0">
                  <a:pos x="8444" y="1192"/>
                </a:cxn>
                <a:cxn ang="0">
                  <a:pos x="7993" y="1241"/>
                </a:cxn>
                <a:cxn ang="0">
                  <a:pos x="7585" y="1585"/>
                </a:cxn>
                <a:cxn ang="0">
                  <a:pos x="6970" y="1765"/>
                </a:cxn>
                <a:cxn ang="0">
                  <a:pos x="6715" y="1944"/>
                </a:cxn>
                <a:cxn ang="0">
                  <a:pos x="6329" y="2688"/>
                </a:cxn>
                <a:cxn ang="0">
                  <a:pos x="6077" y="2971"/>
                </a:cxn>
                <a:cxn ang="0">
                  <a:pos x="5638" y="3505"/>
                </a:cxn>
                <a:cxn ang="0">
                  <a:pos x="5189" y="4081"/>
                </a:cxn>
                <a:cxn ang="0">
                  <a:pos x="4774" y="4887"/>
                </a:cxn>
                <a:cxn ang="0">
                  <a:pos x="4471" y="5462"/>
                </a:cxn>
                <a:cxn ang="0">
                  <a:pos x="4215" y="6096"/>
                </a:cxn>
                <a:cxn ang="0">
                  <a:pos x="3799" y="6730"/>
                </a:cxn>
                <a:cxn ang="0">
                  <a:pos x="2958" y="7623"/>
                </a:cxn>
                <a:cxn ang="0">
                  <a:pos x="3076" y="8006"/>
                </a:cxn>
                <a:cxn ang="0">
                  <a:pos x="2220" y="8099"/>
                </a:cxn>
                <a:cxn ang="0">
                  <a:pos x="1687" y="8561"/>
                </a:cxn>
                <a:cxn ang="0">
                  <a:pos x="1191" y="9109"/>
                </a:cxn>
                <a:cxn ang="0">
                  <a:pos x="735" y="9336"/>
                </a:cxn>
                <a:cxn ang="0">
                  <a:pos x="376" y="9773"/>
                </a:cxn>
                <a:cxn ang="0">
                  <a:pos x="1460" y="9877"/>
                </a:cxn>
                <a:cxn ang="0">
                  <a:pos x="669" y="10221"/>
                </a:cxn>
                <a:cxn ang="0">
                  <a:pos x="355" y="10832"/>
                </a:cxn>
                <a:cxn ang="0">
                  <a:pos x="939" y="10729"/>
                </a:cxn>
                <a:cxn ang="0">
                  <a:pos x="531" y="11603"/>
                </a:cxn>
                <a:cxn ang="0">
                  <a:pos x="683" y="11872"/>
                </a:cxn>
                <a:cxn ang="0">
                  <a:pos x="669" y="13385"/>
                </a:cxn>
                <a:cxn ang="0">
                  <a:pos x="2665" y="12559"/>
                </a:cxn>
                <a:cxn ang="0">
                  <a:pos x="3037" y="11659"/>
                </a:cxn>
                <a:cxn ang="0">
                  <a:pos x="3677" y="11817"/>
                </a:cxn>
                <a:cxn ang="0">
                  <a:pos x="3949" y="8877"/>
                </a:cxn>
                <a:cxn ang="0">
                  <a:pos x="4871" y="6844"/>
                </a:cxn>
                <a:cxn ang="0">
                  <a:pos x="5582" y="5115"/>
                </a:cxn>
                <a:cxn ang="0">
                  <a:pos x="6619" y="3423"/>
                </a:cxn>
                <a:cxn ang="0">
                  <a:pos x="7420" y="2291"/>
                </a:cxn>
                <a:cxn ang="0">
                  <a:pos x="9049" y="2367"/>
                </a:cxn>
                <a:cxn ang="0">
                  <a:pos x="10475" y="1141"/>
                </a:cxn>
                <a:cxn ang="0">
                  <a:pos x="11404" y="1157"/>
                </a:cxn>
                <a:cxn ang="0">
                  <a:pos x="335" y="9457"/>
                </a:cxn>
                <a:cxn ang="0">
                  <a:pos x="2427" y="7727"/>
                </a:cxn>
                <a:cxn ang="0">
                  <a:pos x="9173" y="169"/>
                </a:cxn>
                <a:cxn ang="0">
                  <a:pos x="8493" y="920"/>
                </a:cxn>
                <a:cxn ang="0">
                  <a:pos x="8145" y="624"/>
                </a:cxn>
                <a:cxn ang="0">
                  <a:pos x="8089" y="847"/>
                </a:cxn>
                <a:cxn ang="0">
                  <a:pos x="7543" y="1299"/>
                </a:cxn>
                <a:cxn ang="0">
                  <a:pos x="6891" y="1355"/>
                </a:cxn>
                <a:cxn ang="0">
                  <a:pos x="6891" y="1355"/>
                </a:cxn>
                <a:cxn ang="0">
                  <a:pos x="6159" y="2168"/>
                </a:cxn>
                <a:cxn ang="0">
                  <a:pos x="6594" y="2019"/>
                </a:cxn>
                <a:cxn ang="0">
                  <a:pos x="5575" y="3591"/>
                </a:cxn>
                <a:cxn ang="0">
                  <a:pos x="5658" y="2374"/>
                </a:cxn>
                <a:cxn ang="0">
                  <a:pos x="5479" y="2808"/>
                </a:cxn>
              </a:cxnLst>
              <a:rect l="0" t="0" r="r" b="b"/>
              <a:pathLst>
                <a:path w="11404" h="13502">
                  <a:moveTo>
                    <a:pt x="5703" y="2471"/>
                  </a:moveTo>
                  <a:lnTo>
                    <a:pt x="5758" y="2454"/>
                  </a:lnTo>
                  <a:lnTo>
                    <a:pt x="5783" y="2505"/>
                  </a:lnTo>
                  <a:lnTo>
                    <a:pt x="5790" y="2565"/>
                  </a:lnTo>
                  <a:lnTo>
                    <a:pt x="5776" y="2623"/>
                  </a:lnTo>
                  <a:lnTo>
                    <a:pt x="5793" y="2605"/>
                  </a:lnTo>
                  <a:lnTo>
                    <a:pt x="5814" y="2661"/>
                  </a:lnTo>
                  <a:lnTo>
                    <a:pt x="5793" y="2737"/>
                  </a:lnTo>
                  <a:lnTo>
                    <a:pt x="5754" y="2815"/>
                  </a:lnTo>
                  <a:lnTo>
                    <a:pt x="5772" y="2788"/>
                  </a:lnTo>
                  <a:lnTo>
                    <a:pt x="5825" y="2757"/>
                  </a:lnTo>
                  <a:lnTo>
                    <a:pt x="5852" y="2661"/>
                  </a:lnTo>
                  <a:lnTo>
                    <a:pt x="5917" y="2643"/>
                  </a:lnTo>
                  <a:lnTo>
                    <a:pt x="5903" y="2599"/>
                  </a:lnTo>
                  <a:lnTo>
                    <a:pt x="5928" y="2530"/>
                  </a:lnTo>
                  <a:lnTo>
                    <a:pt x="5997" y="2561"/>
                  </a:lnTo>
                  <a:lnTo>
                    <a:pt x="6059" y="2623"/>
                  </a:lnTo>
                  <a:lnTo>
                    <a:pt x="6069" y="2708"/>
                  </a:lnTo>
                  <a:lnTo>
                    <a:pt x="6052" y="2774"/>
                  </a:lnTo>
                  <a:lnTo>
                    <a:pt x="6014" y="2826"/>
                  </a:lnTo>
                  <a:lnTo>
                    <a:pt x="5938" y="2846"/>
                  </a:lnTo>
                  <a:lnTo>
                    <a:pt x="5883" y="2898"/>
                  </a:lnTo>
                  <a:lnTo>
                    <a:pt x="5856" y="2971"/>
                  </a:lnTo>
                  <a:lnTo>
                    <a:pt x="5817" y="2909"/>
                  </a:lnTo>
                  <a:lnTo>
                    <a:pt x="5731" y="3005"/>
                  </a:lnTo>
                  <a:lnTo>
                    <a:pt x="5731" y="3049"/>
                  </a:lnTo>
                  <a:lnTo>
                    <a:pt x="5696" y="3091"/>
                  </a:lnTo>
                  <a:lnTo>
                    <a:pt x="5665" y="3036"/>
                  </a:lnTo>
                  <a:lnTo>
                    <a:pt x="5651" y="2971"/>
                  </a:lnTo>
                  <a:lnTo>
                    <a:pt x="5665" y="2933"/>
                  </a:lnTo>
                  <a:lnTo>
                    <a:pt x="5600" y="3029"/>
                  </a:lnTo>
                  <a:lnTo>
                    <a:pt x="5527" y="3095"/>
                  </a:lnTo>
                  <a:lnTo>
                    <a:pt x="5386" y="3191"/>
                  </a:lnTo>
                  <a:lnTo>
                    <a:pt x="5396" y="3122"/>
                  </a:lnTo>
                  <a:lnTo>
                    <a:pt x="5341" y="3118"/>
                  </a:lnTo>
                  <a:lnTo>
                    <a:pt x="5296" y="3181"/>
                  </a:lnTo>
                  <a:lnTo>
                    <a:pt x="5172" y="3222"/>
                  </a:lnTo>
                  <a:lnTo>
                    <a:pt x="5158" y="3191"/>
                  </a:lnTo>
                  <a:lnTo>
                    <a:pt x="5165" y="3102"/>
                  </a:lnTo>
                  <a:lnTo>
                    <a:pt x="5207" y="3081"/>
                  </a:lnTo>
                  <a:lnTo>
                    <a:pt x="5234" y="3033"/>
                  </a:lnTo>
                  <a:lnTo>
                    <a:pt x="5283" y="3036"/>
                  </a:lnTo>
                  <a:lnTo>
                    <a:pt x="5344" y="2998"/>
                  </a:lnTo>
                  <a:lnTo>
                    <a:pt x="5379" y="3005"/>
                  </a:lnTo>
                  <a:lnTo>
                    <a:pt x="5413" y="2960"/>
                  </a:lnTo>
                  <a:lnTo>
                    <a:pt x="5555" y="2912"/>
                  </a:lnTo>
                  <a:lnTo>
                    <a:pt x="5541" y="2864"/>
                  </a:lnTo>
                  <a:lnTo>
                    <a:pt x="5631" y="2771"/>
                  </a:lnTo>
                  <a:lnTo>
                    <a:pt x="5631" y="2699"/>
                  </a:lnTo>
                  <a:lnTo>
                    <a:pt x="5662" y="2681"/>
                  </a:lnTo>
                  <a:lnTo>
                    <a:pt x="5662" y="2623"/>
                  </a:lnTo>
                  <a:lnTo>
                    <a:pt x="5672" y="2540"/>
                  </a:lnTo>
                  <a:lnTo>
                    <a:pt x="5703" y="2471"/>
                  </a:lnTo>
                  <a:close/>
                  <a:moveTo>
                    <a:pt x="11386" y="1092"/>
                  </a:moveTo>
                  <a:lnTo>
                    <a:pt x="11362" y="1068"/>
                  </a:lnTo>
                  <a:lnTo>
                    <a:pt x="11204" y="1068"/>
                  </a:lnTo>
                  <a:lnTo>
                    <a:pt x="11224" y="1199"/>
                  </a:lnTo>
                  <a:lnTo>
                    <a:pt x="11186" y="1206"/>
                  </a:lnTo>
                  <a:lnTo>
                    <a:pt x="11186" y="1186"/>
                  </a:lnTo>
                  <a:lnTo>
                    <a:pt x="11117" y="1179"/>
                  </a:lnTo>
                  <a:lnTo>
                    <a:pt x="11079" y="1144"/>
                  </a:lnTo>
                  <a:lnTo>
                    <a:pt x="11103" y="1220"/>
                  </a:lnTo>
                  <a:lnTo>
                    <a:pt x="11093" y="1237"/>
                  </a:lnTo>
                  <a:lnTo>
                    <a:pt x="11048" y="1182"/>
                  </a:lnTo>
                  <a:lnTo>
                    <a:pt x="10965" y="1210"/>
                  </a:lnTo>
                  <a:lnTo>
                    <a:pt x="10903" y="1264"/>
                  </a:lnTo>
                  <a:lnTo>
                    <a:pt x="10910" y="1182"/>
                  </a:lnTo>
                  <a:lnTo>
                    <a:pt x="10948" y="1137"/>
                  </a:lnTo>
                  <a:lnTo>
                    <a:pt x="10992" y="1117"/>
                  </a:lnTo>
                  <a:lnTo>
                    <a:pt x="11003" y="1075"/>
                  </a:lnTo>
                  <a:lnTo>
                    <a:pt x="10983" y="1045"/>
                  </a:lnTo>
                  <a:lnTo>
                    <a:pt x="10938" y="1007"/>
                  </a:lnTo>
                  <a:lnTo>
                    <a:pt x="10806" y="1045"/>
                  </a:lnTo>
                  <a:lnTo>
                    <a:pt x="10824" y="1007"/>
                  </a:lnTo>
                  <a:lnTo>
                    <a:pt x="10771" y="979"/>
                  </a:lnTo>
                  <a:lnTo>
                    <a:pt x="10679" y="951"/>
                  </a:lnTo>
                  <a:lnTo>
                    <a:pt x="10588" y="900"/>
                  </a:lnTo>
                  <a:lnTo>
                    <a:pt x="10492" y="892"/>
                  </a:lnTo>
                  <a:lnTo>
                    <a:pt x="10458" y="865"/>
                  </a:lnTo>
                  <a:lnTo>
                    <a:pt x="10461" y="841"/>
                  </a:lnTo>
                  <a:lnTo>
                    <a:pt x="10458" y="816"/>
                  </a:lnTo>
                  <a:lnTo>
                    <a:pt x="10620" y="838"/>
                  </a:lnTo>
                  <a:lnTo>
                    <a:pt x="10958" y="831"/>
                  </a:lnTo>
                  <a:lnTo>
                    <a:pt x="11141" y="613"/>
                  </a:lnTo>
                  <a:lnTo>
                    <a:pt x="11213" y="568"/>
                  </a:lnTo>
                  <a:lnTo>
                    <a:pt x="11248" y="517"/>
                  </a:lnTo>
                  <a:lnTo>
                    <a:pt x="11206" y="441"/>
                  </a:lnTo>
                  <a:lnTo>
                    <a:pt x="11124" y="424"/>
                  </a:lnTo>
                  <a:lnTo>
                    <a:pt x="11048" y="352"/>
                  </a:lnTo>
                  <a:lnTo>
                    <a:pt x="10945" y="368"/>
                  </a:lnTo>
                  <a:lnTo>
                    <a:pt x="10885" y="355"/>
                  </a:lnTo>
                  <a:lnTo>
                    <a:pt x="10934" y="307"/>
                  </a:lnTo>
                  <a:lnTo>
                    <a:pt x="10824" y="279"/>
                  </a:lnTo>
                  <a:lnTo>
                    <a:pt x="10771" y="227"/>
                  </a:lnTo>
                  <a:lnTo>
                    <a:pt x="10744" y="290"/>
                  </a:lnTo>
                  <a:lnTo>
                    <a:pt x="10709" y="317"/>
                  </a:lnTo>
                  <a:lnTo>
                    <a:pt x="10695" y="272"/>
                  </a:lnTo>
                  <a:lnTo>
                    <a:pt x="10675" y="245"/>
                  </a:lnTo>
                  <a:lnTo>
                    <a:pt x="10564" y="314"/>
                  </a:lnTo>
                  <a:lnTo>
                    <a:pt x="10548" y="299"/>
                  </a:lnTo>
                  <a:lnTo>
                    <a:pt x="10537" y="276"/>
                  </a:lnTo>
                  <a:lnTo>
                    <a:pt x="10537" y="248"/>
                  </a:lnTo>
                  <a:lnTo>
                    <a:pt x="10519" y="193"/>
                  </a:lnTo>
                  <a:lnTo>
                    <a:pt x="10485" y="179"/>
                  </a:lnTo>
                  <a:lnTo>
                    <a:pt x="10461" y="141"/>
                  </a:lnTo>
                  <a:lnTo>
                    <a:pt x="10409" y="172"/>
                  </a:lnTo>
                  <a:lnTo>
                    <a:pt x="10361" y="154"/>
                  </a:lnTo>
                  <a:lnTo>
                    <a:pt x="10316" y="179"/>
                  </a:lnTo>
                  <a:lnTo>
                    <a:pt x="10282" y="276"/>
                  </a:lnTo>
                  <a:lnTo>
                    <a:pt x="10289" y="359"/>
                  </a:lnTo>
                  <a:lnTo>
                    <a:pt x="10313" y="468"/>
                  </a:lnTo>
                  <a:lnTo>
                    <a:pt x="10351" y="551"/>
                  </a:lnTo>
                  <a:lnTo>
                    <a:pt x="10278" y="600"/>
                  </a:lnTo>
                  <a:lnTo>
                    <a:pt x="10209" y="572"/>
                  </a:lnTo>
                  <a:lnTo>
                    <a:pt x="10140" y="600"/>
                  </a:lnTo>
                  <a:lnTo>
                    <a:pt x="10115" y="575"/>
                  </a:lnTo>
                  <a:lnTo>
                    <a:pt x="10171" y="506"/>
                  </a:lnTo>
                  <a:lnTo>
                    <a:pt x="10209" y="414"/>
                  </a:lnTo>
                  <a:lnTo>
                    <a:pt x="10168" y="361"/>
                  </a:lnTo>
                  <a:lnTo>
                    <a:pt x="10084" y="444"/>
                  </a:lnTo>
                  <a:lnTo>
                    <a:pt x="10026" y="452"/>
                  </a:lnTo>
                  <a:lnTo>
                    <a:pt x="10102" y="368"/>
                  </a:lnTo>
                  <a:lnTo>
                    <a:pt x="10033" y="314"/>
                  </a:lnTo>
                  <a:lnTo>
                    <a:pt x="10057" y="259"/>
                  </a:lnTo>
                  <a:lnTo>
                    <a:pt x="10175" y="256"/>
                  </a:lnTo>
                  <a:lnTo>
                    <a:pt x="10198" y="165"/>
                  </a:lnTo>
                  <a:lnTo>
                    <a:pt x="10185" y="72"/>
                  </a:lnTo>
                  <a:lnTo>
                    <a:pt x="10109" y="86"/>
                  </a:lnTo>
                  <a:lnTo>
                    <a:pt x="10106" y="27"/>
                  </a:lnTo>
                  <a:lnTo>
                    <a:pt x="10053" y="0"/>
                  </a:lnTo>
                  <a:lnTo>
                    <a:pt x="10012" y="7"/>
                  </a:lnTo>
                  <a:lnTo>
                    <a:pt x="9946" y="76"/>
                  </a:lnTo>
                  <a:lnTo>
                    <a:pt x="9860" y="14"/>
                  </a:lnTo>
                  <a:lnTo>
                    <a:pt x="9874" y="118"/>
                  </a:lnTo>
                  <a:lnTo>
                    <a:pt x="9863" y="227"/>
                  </a:lnTo>
                  <a:lnTo>
                    <a:pt x="9850" y="310"/>
                  </a:lnTo>
                  <a:lnTo>
                    <a:pt x="9823" y="368"/>
                  </a:lnTo>
                  <a:lnTo>
                    <a:pt x="9816" y="421"/>
                  </a:lnTo>
                  <a:lnTo>
                    <a:pt x="9839" y="482"/>
                  </a:lnTo>
                  <a:lnTo>
                    <a:pt x="9794" y="497"/>
                  </a:lnTo>
                  <a:lnTo>
                    <a:pt x="9781" y="555"/>
                  </a:lnTo>
                  <a:lnTo>
                    <a:pt x="9805" y="641"/>
                  </a:lnTo>
                  <a:lnTo>
                    <a:pt x="9729" y="655"/>
                  </a:lnTo>
                  <a:lnTo>
                    <a:pt x="9656" y="755"/>
                  </a:lnTo>
                  <a:lnTo>
                    <a:pt x="9642" y="658"/>
                  </a:lnTo>
                  <a:lnTo>
                    <a:pt x="9653" y="551"/>
                  </a:lnTo>
                  <a:lnTo>
                    <a:pt x="9570" y="479"/>
                  </a:lnTo>
                  <a:lnTo>
                    <a:pt x="9618" y="417"/>
                  </a:lnTo>
                  <a:lnTo>
                    <a:pt x="9598" y="292"/>
                  </a:lnTo>
                  <a:lnTo>
                    <a:pt x="9570" y="223"/>
                  </a:lnTo>
                  <a:lnTo>
                    <a:pt x="9539" y="221"/>
                  </a:lnTo>
                  <a:lnTo>
                    <a:pt x="9504" y="248"/>
                  </a:lnTo>
                  <a:lnTo>
                    <a:pt x="9352" y="624"/>
                  </a:lnTo>
                  <a:lnTo>
                    <a:pt x="9325" y="665"/>
                  </a:lnTo>
                  <a:lnTo>
                    <a:pt x="9301" y="755"/>
                  </a:lnTo>
                  <a:lnTo>
                    <a:pt x="9256" y="831"/>
                  </a:lnTo>
                  <a:lnTo>
                    <a:pt x="9236" y="945"/>
                  </a:lnTo>
                  <a:lnTo>
                    <a:pt x="9280" y="885"/>
                  </a:lnTo>
                  <a:lnTo>
                    <a:pt x="9176" y="1119"/>
                  </a:lnTo>
                  <a:lnTo>
                    <a:pt x="9129" y="1154"/>
                  </a:lnTo>
                  <a:lnTo>
                    <a:pt x="9104" y="1079"/>
                  </a:lnTo>
                  <a:lnTo>
                    <a:pt x="9100" y="1007"/>
                  </a:lnTo>
                  <a:lnTo>
                    <a:pt x="9129" y="954"/>
                  </a:lnTo>
                  <a:lnTo>
                    <a:pt x="9160" y="930"/>
                  </a:lnTo>
                  <a:lnTo>
                    <a:pt x="9149" y="889"/>
                  </a:lnTo>
                  <a:lnTo>
                    <a:pt x="9149" y="778"/>
                  </a:lnTo>
                  <a:lnTo>
                    <a:pt x="9132" y="738"/>
                  </a:lnTo>
                  <a:lnTo>
                    <a:pt x="9156" y="631"/>
                  </a:lnTo>
                  <a:lnTo>
                    <a:pt x="9263" y="441"/>
                  </a:lnTo>
                  <a:lnTo>
                    <a:pt x="9294" y="345"/>
                  </a:lnTo>
                  <a:lnTo>
                    <a:pt x="9225" y="321"/>
                  </a:lnTo>
                  <a:lnTo>
                    <a:pt x="9145" y="399"/>
                  </a:lnTo>
                  <a:lnTo>
                    <a:pt x="9087" y="421"/>
                  </a:lnTo>
                  <a:lnTo>
                    <a:pt x="9066" y="348"/>
                  </a:lnTo>
                  <a:lnTo>
                    <a:pt x="9022" y="327"/>
                  </a:lnTo>
                  <a:lnTo>
                    <a:pt x="8990" y="292"/>
                  </a:lnTo>
                  <a:lnTo>
                    <a:pt x="8973" y="252"/>
                  </a:lnTo>
                  <a:lnTo>
                    <a:pt x="8924" y="334"/>
                  </a:lnTo>
                  <a:lnTo>
                    <a:pt x="8901" y="299"/>
                  </a:lnTo>
                  <a:lnTo>
                    <a:pt x="8852" y="303"/>
                  </a:lnTo>
                  <a:lnTo>
                    <a:pt x="8866" y="452"/>
                  </a:lnTo>
                  <a:lnTo>
                    <a:pt x="8772" y="430"/>
                  </a:lnTo>
                  <a:lnTo>
                    <a:pt x="8824" y="506"/>
                  </a:lnTo>
                  <a:lnTo>
                    <a:pt x="8883" y="544"/>
                  </a:lnTo>
                  <a:lnTo>
                    <a:pt x="8901" y="572"/>
                  </a:lnTo>
                  <a:lnTo>
                    <a:pt x="8817" y="627"/>
                  </a:lnTo>
                  <a:lnTo>
                    <a:pt x="8783" y="704"/>
                  </a:lnTo>
                  <a:lnTo>
                    <a:pt x="8817" y="775"/>
                  </a:lnTo>
                  <a:lnTo>
                    <a:pt x="8656" y="796"/>
                  </a:lnTo>
                  <a:lnTo>
                    <a:pt x="8587" y="885"/>
                  </a:lnTo>
                  <a:lnTo>
                    <a:pt x="8565" y="954"/>
                  </a:lnTo>
                  <a:lnTo>
                    <a:pt x="8493" y="1054"/>
                  </a:lnTo>
                  <a:lnTo>
                    <a:pt x="8493" y="1092"/>
                  </a:lnTo>
                  <a:lnTo>
                    <a:pt x="8517" y="1141"/>
                  </a:lnTo>
                  <a:lnTo>
                    <a:pt x="8511" y="1206"/>
                  </a:lnTo>
                  <a:lnTo>
                    <a:pt x="8514" y="1295"/>
                  </a:lnTo>
                  <a:lnTo>
                    <a:pt x="8462" y="1310"/>
                  </a:lnTo>
                  <a:lnTo>
                    <a:pt x="8420" y="1275"/>
                  </a:lnTo>
                  <a:lnTo>
                    <a:pt x="8413" y="1220"/>
                  </a:lnTo>
                  <a:lnTo>
                    <a:pt x="8444" y="1192"/>
                  </a:lnTo>
                  <a:lnTo>
                    <a:pt x="8355" y="1179"/>
                  </a:lnTo>
                  <a:lnTo>
                    <a:pt x="8389" y="1114"/>
                  </a:lnTo>
                  <a:lnTo>
                    <a:pt x="8379" y="1099"/>
                  </a:lnTo>
                  <a:lnTo>
                    <a:pt x="8172" y="1096"/>
                  </a:lnTo>
                  <a:lnTo>
                    <a:pt x="8203" y="1172"/>
                  </a:lnTo>
                  <a:lnTo>
                    <a:pt x="8172" y="1182"/>
                  </a:lnTo>
                  <a:lnTo>
                    <a:pt x="8116" y="1168"/>
                  </a:lnTo>
                  <a:lnTo>
                    <a:pt x="8114" y="1123"/>
                  </a:lnTo>
                  <a:lnTo>
                    <a:pt x="8085" y="1068"/>
                  </a:lnTo>
                  <a:lnTo>
                    <a:pt x="8061" y="1089"/>
                  </a:lnTo>
                  <a:lnTo>
                    <a:pt x="8044" y="1027"/>
                  </a:lnTo>
                  <a:lnTo>
                    <a:pt x="8003" y="1061"/>
                  </a:lnTo>
                  <a:lnTo>
                    <a:pt x="7982" y="1034"/>
                  </a:lnTo>
                  <a:lnTo>
                    <a:pt x="7954" y="1068"/>
                  </a:lnTo>
                  <a:lnTo>
                    <a:pt x="7962" y="1172"/>
                  </a:lnTo>
                  <a:lnTo>
                    <a:pt x="7916" y="1119"/>
                  </a:lnTo>
                  <a:lnTo>
                    <a:pt x="7878" y="1058"/>
                  </a:lnTo>
                  <a:lnTo>
                    <a:pt x="7851" y="1037"/>
                  </a:lnTo>
                  <a:lnTo>
                    <a:pt x="7871" y="1192"/>
                  </a:lnTo>
                  <a:lnTo>
                    <a:pt x="7993" y="1241"/>
                  </a:lnTo>
                  <a:lnTo>
                    <a:pt x="8038" y="1237"/>
                  </a:lnTo>
                  <a:lnTo>
                    <a:pt x="8047" y="1310"/>
                  </a:lnTo>
                  <a:lnTo>
                    <a:pt x="8038" y="1371"/>
                  </a:lnTo>
                  <a:lnTo>
                    <a:pt x="8044" y="1437"/>
                  </a:lnTo>
                  <a:lnTo>
                    <a:pt x="8082" y="1506"/>
                  </a:lnTo>
                  <a:lnTo>
                    <a:pt x="8092" y="1596"/>
                  </a:lnTo>
                  <a:lnTo>
                    <a:pt x="8044" y="1562"/>
                  </a:lnTo>
                  <a:lnTo>
                    <a:pt x="7896" y="1395"/>
                  </a:lnTo>
                  <a:lnTo>
                    <a:pt x="7779" y="1310"/>
                  </a:lnTo>
                  <a:lnTo>
                    <a:pt x="7817" y="1430"/>
                  </a:lnTo>
                  <a:lnTo>
                    <a:pt x="7779" y="1430"/>
                  </a:lnTo>
                  <a:lnTo>
                    <a:pt x="7764" y="1496"/>
                  </a:lnTo>
                  <a:lnTo>
                    <a:pt x="7733" y="1496"/>
                  </a:lnTo>
                  <a:lnTo>
                    <a:pt x="7713" y="1540"/>
                  </a:lnTo>
                  <a:lnTo>
                    <a:pt x="7681" y="1520"/>
                  </a:lnTo>
                  <a:lnTo>
                    <a:pt x="7675" y="1482"/>
                  </a:lnTo>
                  <a:lnTo>
                    <a:pt x="7695" y="1409"/>
                  </a:lnTo>
                  <a:lnTo>
                    <a:pt x="7644" y="1444"/>
                  </a:lnTo>
                  <a:lnTo>
                    <a:pt x="7603" y="1506"/>
                  </a:lnTo>
                  <a:lnTo>
                    <a:pt x="7585" y="1585"/>
                  </a:lnTo>
                  <a:lnTo>
                    <a:pt x="7550" y="1602"/>
                  </a:lnTo>
                  <a:lnTo>
                    <a:pt x="7571" y="1699"/>
                  </a:lnTo>
                  <a:lnTo>
                    <a:pt x="7588" y="1737"/>
                  </a:lnTo>
                  <a:lnTo>
                    <a:pt x="7489" y="1834"/>
                  </a:lnTo>
                  <a:lnTo>
                    <a:pt x="7454" y="1961"/>
                  </a:lnTo>
                  <a:lnTo>
                    <a:pt x="7405" y="2023"/>
                  </a:lnTo>
                  <a:lnTo>
                    <a:pt x="7464" y="1888"/>
                  </a:lnTo>
                  <a:lnTo>
                    <a:pt x="7467" y="1816"/>
                  </a:lnTo>
                  <a:lnTo>
                    <a:pt x="7461" y="1668"/>
                  </a:lnTo>
                  <a:lnTo>
                    <a:pt x="7461" y="1554"/>
                  </a:lnTo>
                  <a:lnTo>
                    <a:pt x="7433" y="1430"/>
                  </a:lnTo>
                  <a:lnTo>
                    <a:pt x="7360" y="1462"/>
                  </a:lnTo>
                  <a:lnTo>
                    <a:pt x="7326" y="1544"/>
                  </a:lnTo>
                  <a:lnTo>
                    <a:pt x="7271" y="1640"/>
                  </a:lnTo>
                  <a:lnTo>
                    <a:pt x="7257" y="1789"/>
                  </a:lnTo>
                  <a:lnTo>
                    <a:pt x="7233" y="1916"/>
                  </a:lnTo>
                  <a:lnTo>
                    <a:pt x="7199" y="1589"/>
                  </a:lnTo>
                  <a:lnTo>
                    <a:pt x="7026" y="1620"/>
                  </a:lnTo>
                  <a:lnTo>
                    <a:pt x="6970" y="1734"/>
                  </a:lnTo>
                  <a:lnTo>
                    <a:pt x="6970" y="1765"/>
                  </a:lnTo>
                  <a:lnTo>
                    <a:pt x="6991" y="1892"/>
                  </a:lnTo>
                  <a:lnTo>
                    <a:pt x="7063" y="1979"/>
                  </a:lnTo>
                  <a:lnTo>
                    <a:pt x="7126" y="1995"/>
                  </a:lnTo>
                  <a:lnTo>
                    <a:pt x="7184" y="2078"/>
                  </a:lnTo>
                  <a:lnTo>
                    <a:pt x="7181" y="2144"/>
                  </a:lnTo>
                  <a:lnTo>
                    <a:pt x="7126" y="2140"/>
                  </a:lnTo>
                  <a:lnTo>
                    <a:pt x="7070" y="2040"/>
                  </a:lnTo>
                  <a:lnTo>
                    <a:pt x="6991" y="1999"/>
                  </a:lnTo>
                  <a:lnTo>
                    <a:pt x="6922" y="1899"/>
                  </a:lnTo>
                  <a:lnTo>
                    <a:pt x="6863" y="1847"/>
                  </a:lnTo>
                  <a:lnTo>
                    <a:pt x="6780" y="1865"/>
                  </a:lnTo>
                  <a:lnTo>
                    <a:pt x="6832" y="1972"/>
                  </a:lnTo>
                  <a:lnTo>
                    <a:pt x="6932" y="2048"/>
                  </a:lnTo>
                  <a:lnTo>
                    <a:pt x="6867" y="2109"/>
                  </a:lnTo>
                  <a:lnTo>
                    <a:pt x="6809" y="2068"/>
                  </a:lnTo>
                  <a:lnTo>
                    <a:pt x="6780" y="2109"/>
                  </a:lnTo>
                  <a:lnTo>
                    <a:pt x="6760" y="2026"/>
                  </a:lnTo>
                  <a:lnTo>
                    <a:pt x="6708" y="2064"/>
                  </a:lnTo>
                  <a:lnTo>
                    <a:pt x="6701" y="2033"/>
                  </a:lnTo>
                  <a:lnTo>
                    <a:pt x="6715" y="1944"/>
                  </a:lnTo>
                  <a:lnTo>
                    <a:pt x="6677" y="1910"/>
                  </a:lnTo>
                  <a:lnTo>
                    <a:pt x="6660" y="1944"/>
                  </a:lnTo>
                  <a:lnTo>
                    <a:pt x="6619" y="2099"/>
                  </a:lnTo>
                  <a:lnTo>
                    <a:pt x="6632" y="2153"/>
                  </a:lnTo>
                  <a:lnTo>
                    <a:pt x="6666" y="2202"/>
                  </a:lnTo>
                  <a:lnTo>
                    <a:pt x="6508" y="2289"/>
                  </a:lnTo>
                  <a:lnTo>
                    <a:pt x="6466" y="2323"/>
                  </a:lnTo>
                  <a:lnTo>
                    <a:pt x="6449" y="2378"/>
                  </a:lnTo>
                  <a:lnTo>
                    <a:pt x="6443" y="2447"/>
                  </a:lnTo>
                  <a:lnTo>
                    <a:pt x="6463" y="2496"/>
                  </a:lnTo>
                  <a:lnTo>
                    <a:pt x="6525" y="2471"/>
                  </a:lnTo>
                  <a:lnTo>
                    <a:pt x="6570" y="2526"/>
                  </a:lnTo>
                  <a:lnTo>
                    <a:pt x="6487" y="2526"/>
                  </a:lnTo>
                  <a:lnTo>
                    <a:pt x="6512" y="2592"/>
                  </a:lnTo>
                  <a:lnTo>
                    <a:pt x="6518" y="2636"/>
                  </a:lnTo>
                  <a:lnTo>
                    <a:pt x="6425" y="2608"/>
                  </a:lnTo>
                  <a:lnTo>
                    <a:pt x="6390" y="2623"/>
                  </a:lnTo>
                  <a:lnTo>
                    <a:pt x="6445" y="2674"/>
                  </a:lnTo>
                  <a:lnTo>
                    <a:pt x="6408" y="2712"/>
                  </a:lnTo>
                  <a:lnTo>
                    <a:pt x="6329" y="2688"/>
                  </a:lnTo>
                  <a:lnTo>
                    <a:pt x="6314" y="2733"/>
                  </a:lnTo>
                  <a:lnTo>
                    <a:pt x="6256" y="2719"/>
                  </a:lnTo>
                  <a:lnTo>
                    <a:pt x="6146" y="2761"/>
                  </a:lnTo>
                  <a:lnTo>
                    <a:pt x="6111" y="2822"/>
                  </a:lnTo>
                  <a:lnTo>
                    <a:pt x="6066" y="2850"/>
                  </a:lnTo>
                  <a:lnTo>
                    <a:pt x="6059" y="2875"/>
                  </a:lnTo>
                  <a:lnTo>
                    <a:pt x="6135" y="2922"/>
                  </a:lnTo>
                  <a:lnTo>
                    <a:pt x="6204" y="2895"/>
                  </a:lnTo>
                  <a:lnTo>
                    <a:pt x="6242" y="2853"/>
                  </a:lnTo>
                  <a:lnTo>
                    <a:pt x="6359" y="2919"/>
                  </a:lnTo>
                  <a:lnTo>
                    <a:pt x="6443" y="2860"/>
                  </a:lnTo>
                  <a:lnTo>
                    <a:pt x="6470" y="2881"/>
                  </a:lnTo>
                  <a:lnTo>
                    <a:pt x="6494" y="2940"/>
                  </a:lnTo>
                  <a:lnTo>
                    <a:pt x="6418" y="2940"/>
                  </a:lnTo>
                  <a:lnTo>
                    <a:pt x="6387" y="2988"/>
                  </a:lnTo>
                  <a:lnTo>
                    <a:pt x="6376" y="3081"/>
                  </a:lnTo>
                  <a:lnTo>
                    <a:pt x="6263" y="3029"/>
                  </a:lnTo>
                  <a:lnTo>
                    <a:pt x="6184" y="3026"/>
                  </a:lnTo>
                  <a:lnTo>
                    <a:pt x="6162" y="2991"/>
                  </a:lnTo>
                  <a:lnTo>
                    <a:pt x="6077" y="2971"/>
                  </a:lnTo>
                  <a:lnTo>
                    <a:pt x="5979" y="3029"/>
                  </a:lnTo>
                  <a:lnTo>
                    <a:pt x="5948" y="3084"/>
                  </a:lnTo>
                  <a:lnTo>
                    <a:pt x="6024" y="3191"/>
                  </a:lnTo>
                  <a:lnTo>
                    <a:pt x="6028" y="3247"/>
                  </a:lnTo>
                  <a:lnTo>
                    <a:pt x="5979" y="3243"/>
                  </a:lnTo>
                  <a:lnTo>
                    <a:pt x="6024" y="3339"/>
                  </a:lnTo>
                  <a:lnTo>
                    <a:pt x="6028" y="3412"/>
                  </a:lnTo>
                  <a:lnTo>
                    <a:pt x="5970" y="3394"/>
                  </a:lnTo>
                  <a:lnTo>
                    <a:pt x="5972" y="3466"/>
                  </a:lnTo>
                  <a:lnTo>
                    <a:pt x="5917" y="3481"/>
                  </a:lnTo>
                  <a:lnTo>
                    <a:pt x="5869" y="3222"/>
                  </a:lnTo>
                  <a:lnTo>
                    <a:pt x="5814" y="3236"/>
                  </a:lnTo>
                  <a:lnTo>
                    <a:pt x="5790" y="3329"/>
                  </a:lnTo>
                  <a:lnTo>
                    <a:pt x="5734" y="3312"/>
                  </a:lnTo>
                  <a:lnTo>
                    <a:pt x="5714" y="3339"/>
                  </a:lnTo>
                  <a:lnTo>
                    <a:pt x="5790" y="3370"/>
                  </a:lnTo>
                  <a:lnTo>
                    <a:pt x="5772" y="3398"/>
                  </a:lnTo>
                  <a:lnTo>
                    <a:pt x="5711" y="3412"/>
                  </a:lnTo>
                  <a:lnTo>
                    <a:pt x="5658" y="3446"/>
                  </a:lnTo>
                  <a:lnTo>
                    <a:pt x="5638" y="3505"/>
                  </a:lnTo>
                  <a:lnTo>
                    <a:pt x="5648" y="3577"/>
                  </a:lnTo>
                  <a:lnTo>
                    <a:pt x="5714" y="3619"/>
                  </a:lnTo>
                  <a:lnTo>
                    <a:pt x="5658" y="3646"/>
                  </a:lnTo>
                  <a:lnTo>
                    <a:pt x="5696" y="3684"/>
                  </a:lnTo>
                  <a:lnTo>
                    <a:pt x="5651" y="3704"/>
                  </a:lnTo>
                  <a:lnTo>
                    <a:pt x="5617" y="3787"/>
                  </a:lnTo>
                  <a:lnTo>
                    <a:pt x="5589" y="3805"/>
                  </a:lnTo>
                  <a:lnTo>
                    <a:pt x="5548" y="3802"/>
                  </a:lnTo>
                  <a:lnTo>
                    <a:pt x="5558" y="3829"/>
                  </a:lnTo>
                  <a:lnTo>
                    <a:pt x="5631" y="3853"/>
                  </a:lnTo>
                  <a:lnTo>
                    <a:pt x="5779" y="3805"/>
                  </a:lnTo>
                  <a:lnTo>
                    <a:pt x="5680" y="3911"/>
                  </a:lnTo>
                  <a:lnTo>
                    <a:pt x="5627" y="3943"/>
                  </a:lnTo>
                  <a:lnTo>
                    <a:pt x="5489" y="3911"/>
                  </a:lnTo>
                  <a:lnTo>
                    <a:pt x="5459" y="3880"/>
                  </a:lnTo>
                  <a:lnTo>
                    <a:pt x="5448" y="3833"/>
                  </a:lnTo>
                  <a:lnTo>
                    <a:pt x="5390" y="3840"/>
                  </a:lnTo>
                  <a:lnTo>
                    <a:pt x="5306" y="3909"/>
                  </a:lnTo>
                  <a:lnTo>
                    <a:pt x="5265" y="4025"/>
                  </a:lnTo>
                  <a:lnTo>
                    <a:pt x="5189" y="4081"/>
                  </a:lnTo>
                  <a:lnTo>
                    <a:pt x="5185" y="4146"/>
                  </a:lnTo>
                  <a:lnTo>
                    <a:pt x="5234" y="4146"/>
                  </a:lnTo>
                  <a:lnTo>
                    <a:pt x="5223" y="4204"/>
                  </a:lnTo>
                  <a:lnTo>
                    <a:pt x="5216" y="4239"/>
                  </a:lnTo>
                  <a:lnTo>
                    <a:pt x="5151" y="4259"/>
                  </a:lnTo>
                  <a:lnTo>
                    <a:pt x="5116" y="4397"/>
                  </a:lnTo>
                  <a:lnTo>
                    <a:pt x="5058" y="4384"/>
                  </a:lnTo>
                  <a:lnTo>
                    <a:pt x="5013" y="4408"/>
                  </a:lnTo>
                  <a:lnTo>
                    <a:pt x="4961" y="4415"/>
                  </a:lnTo>
                  <a:lnTo>
                    <a:pt x="4892" y="4494"/>
                  </a:lnTo>
                  <a:lnTo>
                    <a:pt x="4940" y="4563"/>
                  </a:lnTo>
                  <a:lnTo>
                    <a:pt x="4909" y="4600"/>
                  </a:lnTo>
                  <a:lnTo>
                    <a:pt x="4823" y="4611"/>
                  </a:lnTo>
                  <a:lnTo>
                    <a:pt x="4823" y="4680"/>
                  </a:lnTo>
                  <a:lnTo>
                    <a:pt x="4734" y="4694"/>
                  </a:lnTo>
                  <a:lnTo>
                    <a:pt x="4750" y="4736"/>
                  </a:lnTo>
                  <a:lnTo>
                    <a:pt x="4709" y="4759"/>
                  </a:lnTo>
                  <a:lnTo>
                    <a:pt x="4699" y="4821"/>
                  </a:lnTo>
                  <a:lnTo>
                    <a:pt x="4799" y="4845"/>
                  </a:lnTo>
                  <a:lnTo>
                    <a:pt x="4774" y="4887"/>
                  </a:lnTo>
                  <a:lnTo>
                    <a:pt x="4705" y="4921"/>
                  </a:lnTo>
                  <a:lnTo>
                    <a:pt x="4657" y="4890"/>
                  </a:lnTo>
                  <a:lnTo>
                    <a:pt x="4654" y="4901"/>
                  </a:lnTo>
                  <a:lnTo>
                    <a:pt x="4661" y="5011"/>
                  </a:lnTo>
                  <a:lnTo>
                    <a:pt x="4705" y="5073"/>
                  </a:lnTo>
                  <a:lnTo>
                    <a:pt x="4747" y="5021"/>
                  </a:lnTo>
                  <a:lnTo>
                    <a:pt x="4778" y="5055"/>
                  </a:lnTo>
                  <a:lnTo>
                    <a:pt x="4757" y="5121"/>
                  </a:lnTo>
                  <a:lnTo>
                    <a:pt x="4594" y="5142"/>
                  </a:lnTo>
                  <a:lnTo>
                    <a:pt x="4556" y="5173"/>
                  </a:lnTo>
                  <a:lnTo>
                    <a:pt x="4543" y="5284"/>
                  </a:lnTo>
                  <a:lnTo>
                    <a:pt x="4474" y="5327"/>
                  </a:lnTo>
                  <a:lnTo>
                    <a:pt x="4406" y="5349"/>
                  </a:lnTo>
                  <a:lnTo>
                    <a:pt x="4357" y="5452"/>
                  </a:lnTo>
                  <a:lnTo>
                    <a:pt x="4426" y="5445"/>
                  </a:lnTo>
                  <a:lnTo>
                    <a:pt x="4491" y="5383"/>
                  </a:lnTo>
                  <a:lnTo>
                    <a:pt x="4581" y="5349"/>
                  </a:lnTo>
                  <a:lnTo>
                    <a:pt x="4578" y="5421"/>
                  </a:lnTo>
                  <a:lnTo>
                    <a:pt x="4629" y="5521"/>
                  </a:lnTo>
                  <a:lnTo>
                    <a:pt x="4471" y="5462"/>
                  </a:lnTo>
                  <a:lnTo>
                    <a:pt x="4457" y="5534"/>
                  </a:lnTo>
                  <a:lnTo>
                    <a:pt x="4488" y="5559"/>
                  </a:lnTo>
                  <a:lnTo>
                    <a:pt x="4436" y="5600"/>
                  </a:lnTo>
                  <a:lnTo>
                    <a:pt x="4415" y="5645"/>
                  </a:lnTo>
                  <a:lnTo>
                    <a:pt x="4429" y="5717"/>
                  </a:lnTo>
                  <a:lnTo>
                    <a:pt x="4402" y="5732"/>
                  </a:lnTo>
                  <a:lnTo>
                    <a:pt x="4353" y="5703"/>
                  </a:lnTo>
                  <a:lnTo>
                    <a:pt x="4315" y="5748"/>
                  </a:lnTo>
                  <a:lnTo>
                    <a:pt x="4337" y="5828"/>
                  </a:lnTo>
                  <a:lnTo>
                    <a:pt x="4384" y="5866"/>
                  </a:lnTo>
                  <a:lnTo>
                    <a:pt x="4398" y="6017"/>
                  </a:lnTo>
                  <a:lnTo>
                    <a:pt x="4343" y="5948"/>
                  </a:lnTo>
                  <a:lnTo>
                    <a:pt x="4284" y="5928"/>
                  </a:lnTo>
                  <a:lnTo>
                    <a:pt x="4239" y="5831"/>
                  </a:lnTo>
                  <a:lnTo>
                    <a:pt x="4243" y="5959"/>
                  </a:lnTo>
                  <a:lnTo>
                    <a:pt x="4212" y="6000"/>
                  </a:lnTo>
                  <a:lnTo>
                    <a:pt x="4154" y="6020"/>
                  </a:lnTo>
                  <a:lnTo>
                    <a:pt x="4125" y="6093"/>
                  </a:lnTo>
                  <a:lnTo>
                    <a:pt x="4163" y="6120"/>
                  </a:lnTo>
                  <a:lnTo>
                    <a:pt x="4215" y="6096"/>
                  </a:lnTo>
                  <a:lnTo>
                    <a:pt x="4253" y="6035"/>
                  </a:lnTo>
                  <a:lnTo>
                    <a:pt x="4266" y="6065"/>
                  </a:lnTo>
                  <a:lnTo>
                    <a:pt x="4257" y="6100"/>
                  </a:lnTo>
                  <a:lnTo>
                    <a:pt x="4253" y="6158"/>
                  </a:lnTo>
                  <a:lnTo>
                    <a:pt x="4266" y="6214"/>
                  </a:lnTo>
                  <a:lnTo>
                    <a:pt x="4208" y="6262"/>
                  </a:lnTo>
                  <a:lnTo>
                    <a:pt x="4119" y="6218"/>
                  </a:lnTo>
                  <a:lnTo>
                    <a:pt x="4070" y="6276"/>
                  </a:lnTo>
                  <a:lnTo>
                    <a:pt x="4018" y="6245"/>
                  </a:lnTo>
                  <a:lnTo>
                    <a:pt x="3953" y="6323"/>
                  </a:lnTo>
                  <a:lnTo>
                    <a:pt x="3938" y="6396"/>
                  </a:lnTo>
                  <a:lnTo>
                    <a:pt x="3873" y="6441"/>
                  </a:lnTo>
                  <a:lnTo>
                    <a:pt x="3801" y="6461"/>
                  </a:lnTo>
                  <a:lnTo>
                    <a:pt x="3757" y="6620"/>
                  </a:lnTo>
                  <a:lnTo>
                    <a:pt x="3839" y="6603"/>
                  </a:lnTo>
                  <a:lnTo>
                    <a:pt x="3918" y="6559"/>
                  </a:lnTo>
                  <a:lnTo>
                    <a:pt x="3949" y="6586"/>
                  </a:lnTo>
                  <a:lnTo>
                    <a:pt x="3808" y="6641"/>
                  </a:lnTo>
                  <a:lnTo>
                    <a:pt x="3797" y="6720"/>
                  </a:lnTo>
                  <a:lnTo>
                    <a:pt x="3799" y="6730"/>
                  </a:lnTo>
                  <a:lnTo>
                    <a:pt x="3804" y="6751"/>
                  </a:lnTo>
                  <a:lnTo>
                    <a:pt x="3809" y="6771"/>
                  </a:lnTo>
                  <a:lnTo>
                    <a:pt x="3814" y="6790"/>
                  </a:lnTo>
                  <a:lnTo>
                    <a:pt x="3817" y="6805"/>
                  </a:lnTo>
                  <a:lnTo>
                    <a:pt x="3818" y="6809"/>
                  </a:lnTo>
                  <a:lnTo>
                    <a:pt x="3777" y="6862"/>
                  </a:lnTo>
                  <a:lnTo>
                    <a:pt x="3684" y="6889"/>
                  </a:lnTo>
                  <a:lnTo>
                    <a:pt x="3576" y="6789"/>
                  </a:lnTo>
                  <a:lnTo>
                    <a:pt x="3549" y="6786"/>
                  </a:lnTo>
                  <a:lnTo>
                    <a:pt x="3465" y="6903"/>
                  </a:lnTo>
                  <a:lnTo>
                    <a:pt x="3376" y="6958"/>
                  </a:lnTo>
                  <a:lnTo>
                    <a:pt x="3358" y="7003"/>
                  </a:lnTo>
                  <a:lnTo>
                    <a:pt x="3300" y="7051"/>
                  </a:lnTo>
                  <a:lnTo>
                    <a:pt x="3135" y="7248"/>
                  </a:lnTo>
                  <a:lnTo>
                    <a:pt x="3106" y="7292"/>
                  </a:lnTo>
                  <a:lnTo>
                    <a:pt x="3135" y="7379"/>
                  </a:lnTo>
                  <a:lnTo>
                    <a:pt x="3131" y="7410"/>
                  </a:lnTo>
                  <a:lnTo>
                    <a:pt x="2927" y="7499"/>
                  </a:lnTo>
                  <a:lnTo>
                    <a:pt x="2914" y="7582"/>
                  </a:lnTo>
                  <a:lnTo>
                    <a:pt x="2958" y="7623"/>
                  </a:lnTo>
                  <a:lnTo>
                    <a:pt x="3062" y="7593"/>
                  </a:lnTo>
                  <a:lnTo>
                    <a:pt x="3010" y="7713"/>
                  </a:lnTo>
                  <a:lnTo>
                    <a:pt x="3062" y="7816"/>
                  </a:lnTo>
                  <a:lnTo>
                    <a:pt x="3114" y="7847"/>
                  </a:lnTo>
                  <a:lnTo>
                    <a:pt x="3456" y="7644"/>
                  </a:lnTo>
                  <a:lnTo>
                    <a:pt x="3652" y="7571"/>
                  </a:lnTo>
                  <a:lnTo>
                    <a:pt x="3701" y="7513"/>
                  </a:lnTo>
                  <a:lnTo>
                    <a:pt x="3739" y="7540"/>
                  </a:lnTo>
                  <a:lnTo>
                    <a:pt x="3704" y="7589"/>
                  </a:lnTo>
                  <a:lnTo>
                    <a:pt x="3583" y="7647"/>
                  </a:lnTo>
                  <a:lnTo>
                    <a:pt x="3518" y="7651"/>
                  </a:lnTo>
                  <a:lnTo>
                    <a:pt x="3418" y="7705"/>
                  </a:lnTo>
                  <a:lnTo>
                    <a:pt x="3338" y="7771"/>
                  </a:lnTo>
                  <a:lnTo>
                    <a:pt x="3383" y="7837"/>
                  </a:lnTo>
                  <a:lnTo>
                    <a:pt x="3376" y="7865"/>
                  </a:lnTo>
                  <a:lnTo>
                    <a:pt x="3217" y="7912"/>
                  </a:lnTo>
                  <a:lnTo>
                    <a:pt x="3128" y="7906"/>
                  </a:lnTo>
                  <a:lnTo>
                    <a:pt x="3097" y="7934"/>
                  </a:lnTo>
                  <a:lnTo>
                    <a:pt x="3114" y="7992"/>
                  </a:lnTo>
                  <a:lnTo>
                    <a:pt x="3076" y="8006"/>
                  </a:lnTo>
                  <a:lnTo>
                    <a:pt x="2996" y="7985"/>
                  </a:lnTo>
                  <a:lnTo>
                    <a:pt x="3003" y="7906"/>
                  </a:lnTo>
                  <a:lnTo>
                    <a:pt x="2941" y="7774"/>
                  </a:lnTo>
                  <a:lnTo>
                    <a:pt x="2907" y="7734"/>
                  </a:lnTo>
                  <a:lnTo>
                    <a:pt x="2858" y="7734"/>
                  </a:lnTo>
                  <a:lnTo>
                    <a:pt x="2831" y="7771"/>
                  </a:lnTo>
                  <a:lnTo>
                    <a:pt x="2765" y="7778"/>
                  </a:lnTo>
                  <a:lnTo>
                    <a:pt x="2700" y="7830"/>
                  </a:lnTo>
                  <a:lnTo>
                    <a:pt x="2689" y="7888"/>
                  </a:lnTo>
                  <a:lnTo>
                    <a:pt x="2734" y="7934"/>
                  </a:lnTo>
                  <a:lnTo>
                    <a:pt x="2747" y="7975"/>
                  </a:lnTo>
                  <a:lnTo>
                    <a:pt x="2641" y="8023"/>
                  </a:lnTo>
                  <a:lnTo>
                    <a:pt x="2606" y="7964"/>
                  </a:lnTo>
                  <a:lnTo>
                    <a:pt x="2613" y="7892"/>
                  </a:lnTo>
                  <a:lnTo>
                    <a:pt x="2602" y="7840"/>
                  </a:lnTo>
                  <a:lnTo>
                    <a:pt x="2354" y="7919"/>
                  </a:lnTo>
                  <a:lnTo>
                    <a:pt x="2316" y="7957"/>
                  </a:lnTo>
                  <a:lnTo>
                    <a:pt x="2271" y="8046"/>
                  </a:lnTo>
                  <a:lnTo>
                    <a:pt x="2213" y="8033"/>
                  </a:lnTo>
                  <a:lnTo>
                    <a:pt x="2220" y="8099"/>
                  </a:lnTo>
                  <a:lnTo>
                    <a:pt x="2202" y="8126"/>
                  </a:lnTo>
                  <a:lnTo>
                    <a:pt x="2120" y="8126"/>
                  </a:lnTo>
                  <a:lnTo>
                    <a:pt x="2129" y="8095"/>
                  </a:lnTo>
                  <a:lnTo>
                    <a:pt x="2116" y="8054"/>
                  </a:lnTo>
                  <a:lnTo>
                    <a:pt x="2078" y="8061"/>
                  </a:lnTo>
                  <a:lnTo>
                    <a:pt x="2053" y="8095"/>
                  </a:lnTo>
                  <a:lnTo>
                    <a:pt x="2053" y="8133"/>
                  </a:lnTo>
                  <a:lnTo>
                    <a:pt x="2040" y="8153"/>
                  </a:lnTo>
                  <a:lnTo>
                    <a:pt x="1961" y="8147"/>
                  </a:lnTo>
                  <a:lnTo>
                    <a:pt x="1826" y="8191"/>
                  </a:lnTo>
                  <a:lnTo>
                    <a:pt x="1788" y="8309"/>
                  </a:lnTo>
                  <a:lnTo>
                    <a:pt x="1740" y="8398"/>
                  </a:lnTo>
                  <a:lnTo>
                    <a:pt x="1674" y="8351"/>
                  </a:lnTo>
                  <a:lnTo>
                    <a:pt x="1587" y="8333"/>
                  </a:lnTo>
                  <a:lnTo>
                    <a:pt x="1502" y="8385"/>
                  </a:lnTo>
                  <a:lnTo>
                    <a:pt x="1473" y="8443"/>
                  </a:lnTo>
                  <a:lnTo>
                    <a:pt x="1557" y="8505"/>
                  </a:lnTo>
                  <a:lnTo>
                    <a:pt x="1498" y="8554"/>
                  </a:lnTo>
                  <a:lnTo>
                    <a:pt x="1584" y="8581"/>
                  </a:lnTo>
                  <a:lnTo>
                    <a:pt x="1687" y="8561"/>
                  </a:lnTo>
                  <a:lnTo>
                    <a:pt x="1716" y="8623"/>
                  </a:lnTo>
                  <a:lnTo>
                    <a:pt x="1763" y="8650"/>
                  </a:lnTo>
                  <a:lnTo>
                    <a:pt x="1694" y="8716"/>
                  </a:lnTo>
                  <a:lnTo>
                    <a:pt x="1716" y="8774"/>
                  </a:lnTo>
                  <a:lnTo>
                    <a:pt x="1647" y="8733"/>
                  </a:lnTo>
                  <a:lnTo>
                    <a:pt x="1571" y="8730"/>
                  </a:lnTo>
                  <a:lnTo>
                    <a:pt x="1359" y="8678"/>
                  </a:lnTo>
                  <a:lnTo>
                    <a:pt x="1301" y="8678"/>
                  </a:lnTo>
                  <a:lnTo>
                    <a:pt x="1252" y="8708"/>
                  </a:lnTo>
                  <a:lnTo>
                    <a:pt x="1194" y="8692"/>
                  </a:lnTo>
                  <a:lnTo>
                    <a:pt x="1132" y="8730"/>
                  </a:lnTo>
                  <a:lnTo>
                    <a:pt x="1142" y="8750"/>
                  </a:lnTo>
                  <a:lnTo>
                    <a:pt x="1194" y="8777"/>
                  </a:lnTo>
                  <a:lnTo>
                    <a:pt x="1136" y="8792"/>
                  </a:lnTo>
                  <a:lnTo>
                    <a:pt x="1132" y="8839"/>
                  </a:lnTo>
                  <a:lnTo>
                    <a:pt x="1201" y="8839"/>
                  </a:lnTo>
                  <a:lnTo>
                    <a:pt x="1252" y="8819"/>
                  </a:lnTo>
                  <a:lnTo>
                    <a:pt x="1177" y="8902"/>
                  </a:lnTo>
                  <a:lnTo>
                    <a:pt x="1170" y="8967"/>
                  </a:lnTo>
                  <a:lnTo>
                    <a:pt x="1191" y="9109"/>
                  </a:lnTo>
                  <a:lnTo>
                    <a:pt x="1156" y="9115"/>
                  </a:lnTo>
                  <a:lnTo>
                    <a:pt x="1136" y="8991"/>
                  </a:lnTo>
                  <a:lnTo>
                    <a:pt x="1098" y="8933"/>
                  </a:lnTo>
                  <a:lnTo>
                    <a:pt x="1007" y="8977"/>
                  </a:lnTo>
                  <a:lnTo>
                    <a:pt x="949" y="9040"/>
                  </a:lnTo>
                  <a:lnTo>
                    <a:pt x="904" y="9118"/>
                  </a:lnTo>
                  <a:lnTo>
                    <a:pt x="946" y="9171"/>
                  </a:lnTo>
                  <a:lnTo>
                    <a:pt x="949" y="9232"/>
                  </a:lnTo>
                  <a:lnTo>
                    <a:pt x="873" y="9171"/>
                  </a:lnTo>
                  <a:lnTo>
                    <a:pt x="852" y="9098"/>
                  </a:lnTo>
                  <a:lnTo>
                    <a:pt x="773" y="9115"/>
                  </a:lnTo>
                  <a:lnTo>
                    <a:pt x="656" y="9095"/>
                  </a:lnTo>
                  <a:lnTo>
                    <a:pt x="638" y="9149"/>
                  </a:lnTo>
                  <a:lnTo>
                    <a:pt x="641" y="9198"/>
                  </a:lnTo>
                  <a:lnTo>
                    <a:pt x="518" y="9071"/>
                  </a:lnTo>
                  <a:lnTo>
                    <a:pt x="473" y="9098"/>
                  </a:lnTo>
                  <a:lnTo>
                    <a:pt x="514" y="9240"/>
                  </a:lnTo>
                  <a:lnTo>
                    <a:pt x="469" y="9281"/>
                  </a:lnTo>
                  <a:lnTo>
                    <a:pt x="480" y="9309"/>
                  </a:lnTo>
                  <a:lnTo>
                    <a:pt x="735" y="9336"/>
                  </a:lnTo>
                  <a:lnTo>
                    <a:pt x="980" y="9305"/>
                  </a:lnTo>
                  <a:lnTo>
                    <a:pt x="821" y="9363"/>
                  </a:lnTo>
                  <a:lnTo>
                    <a:pt x="846" y="9398"/>
                  </a:lnTo>
                  <a:lnTo>
                    <a:pt x="953" y="9401"/>
                  </a:lnTo>
                  <a:lnTo>
                    <a:pt x="1042" y="9385"/>
                  </a:lnTo>
                  <a:lnTo>
                    <a:pt x="1060" y="9408"/>
                  </a:lnTo>
                  <a:lnTo>
                    <a:pt x="962" y="9454"/>
                  </a:lnTo>
                  <a:lnTo>
                    <a:pt x="821" y="9454"/>
                  </a:lnTo>
                  <a:lnTo>
                    <a:pt x="676" y="9436"/>
                  </a:lnTo>
                  <a:lnTo>
                    <a:pt x="625" y="9391"/>
                  </a:lnTo>
                  <a:lnTo>
                    <a:pt x="569" y="9385"/>
                  </a:lnTo>
                  <a:lnTo>
                    <a:pt x="451" y="9454"/>
                  </a:lnTo>
                  <a:lnTo>
                    <a:pt x="438" y="9501"/>
                  </a:lnTo>
                  <a:lnTo>
                    <a:pt x="369" y="9488"/>
                  </a:lnTo>
                  <a:lnTo>
                    <a:pt x="344" y="9501"/>
                  </a:lnTo>
                  <a:lnTo>
                    <a:pt x="324" y="9563"/>
                  </a:lnTo>
                  <a:lnTo>
                    <a:pt x="458" y="9626"/>
                  </a:lnTo>
                  <a:lnTo>
                    <a:pt x="438" y="9681"/>
                  </a:lnTo>
                  <a:lnTo>
                    <a:pt x="435" y="9742"/>
                  </a:lnTo>
                  <a:lnTo>
                    <a:pt x="376" y="9773"/>
                  </a:lnTo>
                  <a:lnTo>
                    <a:pt x="300" y="9849"/>
                  </a:lnTo>
                  <a:lnTo>
                    <a:pt x="313" y="9911"/>
                  </a:lnTo>
                  <a:lnTo>
                    <a:pt x="286" y="9946"/>
                  </a:lnTo>
                  <a:lnTo>
                    <a:pt x="269" y="10011"/>
                  </a:lnTo>
                  <a:lnTo>
                    <a:pt x="304" y="10049"/>
                  </a:lnTo>
                  <a:lnTo>
                    <a:pt x="293" y="10114"/>
                  </a:lnTo>
                  <a:lnTo>
                    <a:pt x="438" y="10159"/>
                  </a:lnTo>
                  <a:lnTo>
                    <a:pt x="739" y="10083"/>
                  </a:lnTo>
                  <a:lnTo>
                    <a:pt x="797" y="10136"/>
                  </a:lnTo>
                  <a:lnTo>
                    <a:pt x="908" y="10146"/>
                  </a:lnTo>
                  <a:lnTo>
                    <a:pt x="956" y="10043"/>
                  </a:lnTo>
                  <a:lnTo>
                    <a:pt x="1053" y="9911"/>
                  </a:lnTo>
                  <a:lnTo>
                    <a:pt x="1060" y="10001"/>
                  </a:lnTo>
                  <a:lnTo>
                    <a:pt x="1015" y="10121"/>
                  </a:lnTo>
                  <a:lnTo>
                    <a:pt x="1060" y="10152"/>
                  </a:lnTo>
                  <a:lnTo>
                    <a:pt x="1170" y="10163"/>
                  </a:lnTo>
                  <a:lnTo>
                    <a:pt x="1239" y="10143"/>
                  </a:lnTo>
                  <a:lnTo>
                    <a:pt x="1284" y="10181"/>
                  </a:lnTo>
                  <a:lnTo>
                    <a:pt x="1401" y="10080"/>
                  </a:lnTo>
                  <a:lnTo>
                    <a:pt x="1460" y="9877"/>
                  </a:lnTo>
                  <a:lnTo>
                    <a:pt x="1587" y="9822"/>
                  </a:lnTo>
                  <a:lnTo>
                    <a:pt x="1595" y="9864"/>
                  </a:lnTo>
                  <a:lnTo>
                    <a:pt x="1498" y="9994"/>
                  </a:lnTo>
                  <a:lnTo>
                    <a:pt x="1467" y="10098"/>
                  </a:lnTo>
                  <a:lnTo>
                    <a:pt x="1446" y="10139"/>
                  </a:lnTo>
                  <a:lnTo>
                    <a:pt x="1504" y="10136"/>
                  </a:lnTo>
                  <a:lnTo>
                    <a:pt x="1574" y="10101"/>
                  </a:lnTo>
                  <a:lnTo>
                    <a:pt x="1618" y="10132"/>
                  </a:lnTo>
                  <a:lnTo>
                    <a:pt x="1470" y="10225"/>
                  </a:lnTo>
                  <a:lnTo>
                    <a:pt x="1297" y="10259"/>
                  </a:lnTo>
                  <a:lnTo>
                    <a:pt x="1267" y="10346"/>
                  </a:lnTo>
                  <a:lnTo>
                    <a:pt x="1325" y="10418"/>
                  </a:lnTo>
                  <a:lnTo>
                    <a:pt x="1180" y="10484"/>
                  </a:lnTo>
                  <a:lnTo>
                    <a:pt x="1194" y="10388"/>
                  </a:lnTo>
                  <a:lnTo>
                    <a:pt x="1174" y="10315"/>
                  </a:lnTo>
                  <a:lnTo>
                    <a:pt x="1091" y="10239"/>
                  </a:lnTo>
                  <a:lnTo>
                    <a:pt x="994" y="10228"/>
                  </a:lnTo>
                  <a:lnTo>
                    <a:pt x="862" y="10250"/>
                  </a:lnTo>
                  <a:lnTo>
                    <a:pt x="763" y="10215"/>
                  </a:lnTo>
                  <a:lnTo>
                    <a:pt x="669" y="10221"/>
                  </a:lnTo>
                  <a:lnTo>
                    <a:pt x="576" y="10197"/>
                  </a:lnTo>
                  <a:lnTo>
                    <a:pt x="487" y="10263"/>
                  </a:lnTo>
                  <a:lnTo>
                    <a:pt x="317" y="10201"/>
                  </a:lnTo>
                  <a:lnTo>
                    <a:pt x="248" y="10308"/>
                  </a:lnTo>
                  <a:lnTo>
                    <a:pt x="221" y="10401"/>
                  </a:lnTo>
                  <a:lnTo>
                    <a:pt x="310" y="10422"/>
                  </a:lnTo>
                  <a:lnTo>
                    <a:pt x="348" y="10408"/>
                  </a:lnTo>
                  <a:lnTo>
                    <a:pt x="335" y="10546"/>
                  </a:lnTo>
                  <a:lnTo>
                    <a:pt x="255" y="10500"/>
                  </a:lnTo>
                  <a:lnTo>
                    <a:pt x="206" y="10442"/>
                  </a:lnTo>
                  <a:lnTo>
                    <a:pt x="193" y="10462"/>
                  </a:lnTo>
                  <a:lnTo>
                    <a:pt x="176" y="10462"/>
                  </a:lnTo>
                  <a:lnTo>
                    <a:pt x="168" y="10491"/>
                  </a:lnTo>
                  <a:lnTo>
                    <a:pt x="237" y="10673"/>
                  </a:lnTo>
                  <a:lnTo>
                    <a:pt x="300" y="10694"/>
                  </a:lnTo>
                  <a:lnTo>
                    <a:pt x="438" y="10625"/>
                  </a:lnTo>
                  <a:lnTo>
                    <a:pt x="521" y="10618"/>
                  </a:lnTo>
                  <a:lnTo>
                    <a:pt x="376" y="10729"/>
                  </a:lnTo>
                  <a:lnTo>
                    <a:pt x="324" y="10787"/>
                  </a:lnTo>
                  <a:lnTo>
                    <a:pt x="355" y="10832"/>
                  </a:lnTo>
                  <a:lnTo>
                    <a:pt x="241" y="10876"/>
                  </a:lnTo>
                  <a:lnTo>
                    <a:pt x="186" y="10925"/>
                  </a:lnTo>
                  <a:lnTo>
                    <a:pt x="190" y="11004"/>
                  </a:lnTo>
                  <a:lnTo>
                    <a:pt x="231" y="11059"/>
                  </a:lnTo>
                  <a:lnTo>
                    <a:pt x="244" y="11124"/>
                  </a:lnTo>
                  <a:lnTo>
                    <a:pt x="317" y="11086"/>
                  </a:lnTo>
                  <a:lnTo>
                    <a:pt x="386" y="11028"/>
                  </a:lnTo>
                  <a:lnTo>
                    <a:pt x="373" y="11111"/>
                  </a:lnTo>
                  <a:lnTo>
                    <a:pt x="435" y="11249"/>
                  </a:lnTo>
                  <a:lnTo>
                    <a:pt x="359" y="11249"/>
                  </a:lnTo>
                  <a:lnTo>
                    <a:pt x="266" y="11300"/>
                  </a:lnTo>
                  <a:lnTo>
                    <a:pt x="259" y="11349"/>
                  </a:lnTo>
                  <a:lnTo>
                    <a:pt x="300" y="11393"/>
                  </a:lnTo>
                  <a:lnTo>
                    <a:pt x="411" y="11342"/>
                  </a:lnTo>
                  <a:lnTo>
                    <a:pt x="483" y="11238"/>
                  </a:lnTo>
                  <a:lnTo>
                    <a:pt x="507" y="11128"/>
                  </a:lnTo>
                  <a:lnTo>
                    <a:pt x="596" y="11077"/>
                  </a:lnTo>
                  <a:lnTo>
                    <a:pt x="707" y="10970"/>
                  </a:lnTo>
                  <a:lnTo>
                    <a:pt x="835" y="10798"/>
                  </a:lnTo>
                  <a:lnTo>
                    <a:pt x="939" y="10729"/>
                  </a:lnTo>
                  <a:lnTo>
                    <a:pt x="977" y="10780"/>
                  </a:lnTo>
                  <a:lnTo>
                    <a:pt x="980" y="10821"/>
                  </a:lnTo>
                  <a:lnTo>
                    <a:pt x="1098" y="10801"/>
                  </a:lnTo>
                  <a:lnTo>
                    <a:pt x="1187" y="10825"/>
                  </a:lnTo>
                  <a:lnTo>
                    <a:pt x="1022" y="10883"/>
                  </a:lnTo>
                  <a:lnTo>
                    <a:pt x="994" y="10976"/>
                  </a:lnTo>
                  <a:lnTo>
                    <a:pt x="962" y="11039"/>
                  </a:lnTo>
                  <a:lnTo>
                    <a:pt x="956" y="10928"/>
                  </a:lnTo>
                  <a:lnTo>
                    <a:pt x="915" y="10910"/>
                  </a:lnTo>
                  <a:lnTo>
                    <a:pt x="808" y="11039"/>
                  </a:lnTo>
                  <a:lnTo>
                    <a:pt x="697" y="11128"/>
                  </a:lnTo>
                  <a:lnTo>
                    <a:pt x="752" y="11183"/>
                  </a:lnTo>
                  <a:lnTo>
                    <a:pt x="752" y="11211"/>
                  </a:lnTo>
                  <a:lnTo>
                    <a:pt x="638" y="11255"/>
                  </a:lnTo>
                  <a:lnTo>
                    <a:pt x="407" y="11476"/>
                  </a:lnTo>
                  <a:lnTo>
                    <a:pt x="473" y="11531"/>
                  </a:lnTo>
                  <a:lnTo>
                    <a:pt x="666" y="11549"/>
                  </a:lnTo>
                  <a:lnTo>
                    <a:pt x="725" y="11507"/>
                  </a:lnTo>
                  <a:lnTo>
                    <a:pt x="739" y="11541"/>
                  </a:lnTo>
                  <a:lnTo>
                    <a:pt x="531" y="11603"/>
                  </a:lnTo>
                  <a:lnTo>
                    <a:pt x="469" y="11656"/>
                  </a:lnTo>
                  <a:lnTo>
                    <a:pt x="451" y="11694"/>
                  </a:lnTo>
                  <a:lnTo>
                    <a:pt x="355" y="11679"/>
                  </a:lnTo>
                  <a:lnTo>
                    <a:pt x="304" y="11700"/>
                  </a:lnTo>
                  <a:lnTo>
                    <a:pt x="252" y="11665"/>
                  </a:lnTo>
                  <a:lnTo>
                    <a:pt x="141" y="11768"/>
                  </a:lnTo>
                  <a:lnTo>
                    <a:pt x="86" y="11852"/>
                  </a:lnTo>
                  <a:lnTo>
                    <a:pt x="72" y="11935"/>
                  </a:lnTo>
                  <a:lnTo>
                    <a:pt x="103" y="11969"/>
                  </a:lnTo>
                  <a:lnTo>
                    <a:pt x="110" y="12010"/>
                  </a:lnTo>
                  <a:lnTo>
                    <a:pt x="203" y="12004"/>
                  </a:lnTo>
                  <a:lnTo>
                    <a:pt x="252" y="11917"/>
                  </a:lnTo>
                  <a:lnTo>
                    <a:pt x="266" y="12010"/>
                  </a:lnTo>
                  <a:lnTo>
                    <a:pt x="338" y="12013"/>
                  </a:lnTo>
                  <a:lnTo>
                    <a:pt x="362" y="11962"/>
                  </a:lnTo>
                  <a:lnTo>
                    <a:pt x="359" y="11904"/>
                  </a:lnTo>
                  <a:lnTo>
                    <a:pt x="427" y="11951"/>
                  </a:lnTo>
                  <a:lnTo>
                    <a:pt x="580" y="11893"/>
                  </a:lnTo>
                  <a:lnTo>
                    <a:pt x="641" y="11835"/>
                  </a:lnTo>
                  <a:lnTo>
                    <a:pt x="683" y="11872"/>
                  </a:lnTo>
                  <a:lnTo>
                    <a:pt x="521" y="12028"/>
                  </a:lnTo>
                  <a:lnTo>
                    <a:pt x="580" y="12031"/>
                  </a:lnTo>
                  <a:lnTo>
                    <a:pt x="565" y="12127"/>
                  </a:lnTo>
                  <a:lnTo>
                    <a:pt x="493" y="12211"/>
                  </a:lnTo>
                  <a:lnTo>
                    <a:pt x="462" y="12272"/>
                  </a:lnTo>
                  <a:lnTo>
                    <a:pt x="389" y="12323"/>
                  </a:lnTo>
                  <a:lnTo>
                    <a:pt x="393" y="12396"/>
                  </a:lnTo>
                  <a:lnTo>
                    <a:pt x="379" y="12438"/>
                  </a:lnTo>
                  <a:lnTo>
                    <a:pt x="328" y="12427"/>
                  </a:lnTo>
                  <a:lnTo>
                    <a:pt x="275" y="12441"/>
                  </a:lnTo>
                  <a:lnTo>
                    <a:pt x="252" y="12361"/>
                  </a:lnTo>
                  <a:lnTo>
                    <a:pt x="214" y="12358"/>
                  </a:lnTo>
                  <a:lnTo>
                    <a:pt x="92" y="12665"/>
                  </a:lnTo>
                  <a:lnTo>
                    <a:pt x="199" y="12851"/>
                  </a:lnTo>
                  <a:lnTo>
                    <a:pt x="389" y="13061"/>
                  </a:lnTo>
                  <a:lnTo>
                    <a:pt x="521" y="13168"/>
                  </a:lnTo>
                  <a:lnTo>
                    <a:pt x="641" y="13199"/>
                  </a:lnTo>
                  <a:lnTo>
                    <a:pt x="735" y="13078"/>
                  </a:lnTo>
                  <a:lnTo>
                    <a:pt x="710" y="13258"/>
                  </a:lnTo>
                  <a:lnTo>
                    <a:pt x="669" y="13385"/>
                  </a:lnTo>
                  <a:lnTo>
                    <a:pt x="739" y="13341"/>
                  </a:lnTo>
                  <a:lnTo>
                    <a:pt x="832" y="13402"/>
                  </a:lnTo>
                  <a:lnTo>
                    <a:pt x="880" y="13316"/>
                  </a:lnTo>
                  <a:lnTo>
                    <a:pt x="1035" y="13344"/>
                  </a:lnTo>
                  <a:lnTo>
                    <a:pt x="949" y="13423"/>
                  </a:lnTo>
                  <a:lnTo>
                    <a:pt x="1114" y="13502"/>
                  </a:lnTo>
                  <a:lnTo>
                    <a:pt x="1246" y="13464"/>
                  </a:lnTo>
                  <a:lnTo>
                    <a:pt x="1381" y="13372"/>
                  </a:lnTo>
                  <a:lnTo>
                    <a:pt x="1446" y="13241"/>
                  </a:lnTo>
                  <a:lnTo>
                    <a:pt x="1511" y="13354"/>
                  </a:lnTo>
                  <a:lnTo>
                    <a:pt x="1732" y="13241"/>
                  </a:lnTo>
                  <a:lnTo>
                    <a:pt x="1964" y="12982"/>
                  </a:lnTo>
                  <a:lnTo>
                    <a:pt x="2091" y="12931"/>
                  </a:lnTo>
                  <a:lnTo>
                    <a:pt x="2137" y="12827"/>
                  </a:lnTo>
                  <a:lnTo>
                    <a:pt x="2209" y="12775"/>
                  </a:lnTo>
                  <a:lnTo>
                    <a:pt x="2236" y="12717"/>
                  </a:lnTo>
                  <a:lnTo>
                    <a:pt x="2419" y="12555"/>
                  </a:lnTo>
                  <a:lnTo>
                    <a:pt x="2403" y="12468"/>
                  </a:lnTo>
                  <a:lnTo>
                    <a:pt x="2523" y="12552"/>
                  </a:lnTo>
                  <a:lnTo>
                    <a:pt x="2665" y="12559"/>
                  </a:lnTo>
                  <a:lnTo>
                    <a:pt x="2740" y="12527"/>
                  </a:lnTo>
                  <a:lnTo>
                    <a:pt x="2789" y="12417"/>
                  </a:lnTo>
                  <a:lnTo>
                    <a:pt x="2800" y="12341"/>
                  </a:lnTo>
                  <a:lnTo>
                    <a:pt x="2883" y="12279"/>
                  </a:lnTo>
                  <a:lnTo>
                    <a:pt x="2885" y="12173"/>
                  </a:lnTo>
                  <a:lnTo>
                    <a:pt x="2824" y="12096"/>
                  </a:lnTo>
                  <a:lnTo>
                    <a:pt x="2789" y="12013"/>
                  </a:lnTo>
                  <a:lnTo>
                    <a:pt x="2820" y="11997"/>
                  </a:lnTo>
                  <a:lnTo>
                    <a:pt x="2834" y="11951"/>
                  </a:lnTo>
                  <a:lnTo>
                    <a:pt x="2820" y="11835"/>
                  </a:lnTo>
                  <a:lnTo>
                    <a:pt x="2858" y="11872"/>
                  </a:lnTo>
                  <a:lnTo>
                    <a:pt x="2892" y="11948"/>
                  </a:lnTo>
                  <a:lnTo>
                    <a:pt x="2889" y="12024"/>
                  </a:lnTo>
                  <a:lnTo>
                    <a:pt x="2952" y="12010"/>
                  </a:lnTo>
                  <a:lnTo>
                    <a:pt x="2972" y="11948"/>
                  </a:lnTo>
                  <a:lnTo>
                    <a:pt x="2931" y="11862"/>
                  </a:lnTo>
                  <a:lnTo>
                    <a:pt x="2931" y="11714"/>
                  </a:lnTo>
                  <a:lnTo>
                    <a:pt x="2952" y="11683"/>
                  </a:lnTo>
                  <a:lnTo>
                    <a:pt x="2976" y="11694"/>
                  </a:lnTo>
                  <a:lnTo>
                    <a:pt x="3037" y="11659"/>
                  </a:lnTo>
                  <a:lnTo>
                    <a:pt x="3090" y="11690"/>
                  </a:lnTo>
                  <a:lnTo>
                    <a:pt x="3083" y="11763"/>
                  </a:lnTo>
                  <a:lnTo>
                    <a:pt x="3007" y="11790"/>
                  </a:lnTo>
                  <a:lnTo>
                    <a:pt x="2999" y="11848"/>
                  </a:lnTo>
                  <a:lnTo>
                    <a:pt x="3017" y="11962"/>
                  </a:lnTo>
                  <a:lnTo>
                    <a:pt x="3017" y="12245"/>
                  </a:lnTo>
                  <a:lnTo>
                    <a:pt x="3041" y="12361"/>
                  </a:lnTo>
                  <a:lnTo>
                    <a:pt x="3121" y="12345"/>
                  </a:lnTo>
                  <a:lnTo>
                    <a:pt x="3211" y="12434"/>
                  </a:lnTo>
                  <a:lnTo>
                    <a:pt x="3276" y="12430"/>
                  </a:lnTo>
                  <a:lnTo>
                    <a:pt x="3311" y="12503"/>
                  </a:lnTo>
                  <a:lnTo>
                    <a:pt x="3331" y="12544"/>
                  </a:lnTo>
                  <a:lnTo>
                    <a:pt x="3320" y="12768"/>
                  </a:lnTo>
                  <a:lnTo>
                    <a:pt x="3358" y="12637"/>
                  </a:lnTo>
                  <a:lnTo>
                    <a:pt x="3396" y="12724"/>
                  </a:lnTo>
                  <a:lnTo>
                    <a:pt x="3480" y="12672"/>
                  </a:lnTo>
                  <a:lnTo>
                    <a:pt x="3579" y="12303"/>
                  </a:lnTo>
                  <a:lnTo>
                    <a:pt x="3545" y="12180"/>
                  </a:lnTo>
                  <a:lnTo>
                    <a:pt x="3539" y="12024"/>
                  </a:lnTo>
                  <a:lnTo>
                    <a:pt x="3677" y="11817"/>
                  </a:lnTo>
                  <a:lnTo>
                    <a:pt x="3684" y="11690"/>
                  </a:lnTo>
                  <a:lnTo>
                    <a:pt x="3960" y="11596"/>
                  </a:lnTo>
                  <a:lnTo>
                    <a:pt x="4022" y="11493"/>
                  </a:lnTo>
                  <a:lnTo>
                    <a:pt x="4047" y="11349"/>
                  </a:lnTo>
                  <a:lnTo>
                    <a:pt x="4005" y="11266"/>
                  </a:lnTo>
                  <a:lnTo>
                    <a:pt x="4091" y="10990"/>
                  </a:lnTo>
                  <a:lnTo>
                    <a:pt x="4022" y="10680"/>
                  </a:lnTo>
                  <a:lnTo>
                    <a:pt x="3929" y="10556"/>
                  </a:lnTo>
                  <a:lnTo>
                    <a:pt x="3960" y="10497"/>
                  </a:lnTo>
                  <a:lnTo>
                    <a:pt x="4101" y="10446"/>
                  </a:lnTo>
                  <a:lnTo>
                    <a:pt x="4205" y="10346"/>
                  </a:lnTo>
                  <a:lnTo>
                    <a:pt x="4266" y="10181"/>
                  </a:lnTo>
                  <a:lnTo>
                    <a:pt x="4246" y="9987"/>
                  </a:lnTo>
                  <a:lnTo>
                    <a:pt x="4056" y="9842"/>
                  </a:lnTo>
                  <a:lnTo>
                    <a:pt x="3980" y="9704"/>
                  </a:lnTo>
                  <a:lnTo>
                    <a:pt x="3976" y="9519"/>
                  </a:lnTo>
                  <a:lnTo>
                    <a:pt x="4005" y="9143"/>
                  </a:lnTo>
                  <a:lnTo>
                    <a:pt x="3974" y="9009"/>
                  </a:lnTo>
                  <a:lnTo>
                    <a:pt x="3946" y="8981"/>
                  </a:lnTo>
                  <a:lnTo>
                    <a:pt x="3949" y="8877"/>
                  </a:lnTo>
                  <a:lnTo>
                    <a:pt x="3984" y="8799"/>
                  </a:lnTo>
                  <a:lnTo>
                    <a:pt x="3991" y="8632"/>
                  </a:lnTo>
                  <a:lnTo>
                    <a:pt x="4022" y="8550"/>
                  </a:lnTo>
                  <a:lnTo>
                    <a:pt x="4043" y="8443"/>
                  </a:lnTo>
                  <a:lnTo>
                    <a:pt x="4101" y="8364"/>
                  </a:lnTo>
                  <a:lnTo>
                    <a:pt x="4060" y="8316"/>
                  </a:lnTo>
                  <a:lnTo>
                    <a:pt x="4009" y="8195"/>
                  </a:lnTo>
                  <a:lnTo>
                    <a:pt x="3987" y="8046"/>
                  </a:lnTo>
                  <a:lnTo>
                    <a:pt x="4032" y="7885"/>
                  </a:lnTo>
                  <a:lnTo>
                    <a:pt x="4094" y="7754"/>
                  </a:lnTo>
                  <a:lnTo>
                    <a:pt x="4319" y="7506"/>
                  </a:lnTo>
                  <a:lnTo>
                    <a:pt x="4471" y="7420"/>
                  </a:lnTo>
                  <a:lnTo>
                    <a:pt x="4657" y="7375"/>
                  </a:lnTo>
                  <a:lnTo>
                    <a:pt x="4810" y="7413"/>
                  </a:lnTo>
                  <a:lnTo>
                    <a:pt x="4933" y="7420"/>
                  </a:lnTo>
                  <a:lnTo>
                    <a:pt x="5020" y="7320"/>
                  </a:lnTo>
                  <a:lnTo>
                    <a:pt x="5040" y="7227"/>
                  </a:lnTo>
                  <a:lnTo>
                    <a:pt x="5047" y="7061"/>
                  </a:lnTo>
                  <a:lnTo>
                    <a:pt x="4991" y="6972"/>
                  </a:lnTo>
                  <a:lnTo>
                    <a:pt x="4871" y="6844"/>
                  </a:lnTo>
                  <a:lnTo>
                    <a:pt x="4864" y="6765"/>
                  </a:lnTo>
                  <a:lnTo>
                    <a:pt x="4867" y="6762"/>
                  </a:lnTo>
                  <a:lnTo>
                    <a:pt x="4874" y="6751"/>
                  </a:lnTo>
                  <a:lnTo>
                    <a:pt x="4892" y="6726"/>
                  </a:lnTo>
                  <a:lnTo>
                    <a:pt x="4914" y="6692"/>
                  </a:lnTo>
                  <a:lnTo>
                    <a:pt x="4942" y="6653"/>
                  </a:lnTo>
                  <a:lnTo>
                    <a:pt x="4969" y="6612"/>
                  </a:lnTo>
                  <a:lnTo>
                    <a:pt x="4995" y="6575"/>
                  </a:lnTo>
                  <a:lnTo>
                    <a:pt x="5016" y="6543"/>
                  </a:lnTo>
                  <a:lnTo>
                    <a:pt x="5032" y="6522"/>
                  </a:lnTo>
                  <a:lnTo>
                    <a:pt x="5037" y="6513"/>
                  </a:lnTo>
                  <a:lnTo>
                    <a:pt x="5174" y="6227"/>
                  </a:lnTo>
                  <a:lnTo>
                    <a:pt x="5254" y="5835"/>
                  </a:lnTo>
                  <a:lnTo>
                    <a:pt x="5265" y="5614"/>
                  </a:lnTo>
                  <a:lnTo>
                    <a:pt x="5268" y="5449"/>
                  </a:lnTo>
                  <a:lnTo>
                    <a:pt x="5258" y="5342"/>
                  </a:lnTo>
                  <a:lnTo>
                    <a:pt x="5314" y="5307"/>
                  </a:lnTo>
                  <a:lnTo>
                    <a:pt x="5406" y="5307"/>
                  </a:lnTo>
                  <a:lnTo>
                    <a:pt x="5544" y="5207"/>
                  </a:lnTo>
                  <a:lnTo>
                    <a:pt x="5582" y="5115"/>
                  </a:lnTo>
                  <a:lnTo>
                    <a:pt x="5604" y="4966"/>
                  </a:lnTo>
                  <a:lnTo>
                    <a:pt x="5648" y="4845"/>
                  </a:lnTo>
                  <a:lnTo>
                    <a:pt x="5831" y="4625"/>
                  </a:lnTo>
                  <a:lnTo>
                    <a:pt x="5883" y="4522"/>
                  </a:lnTo>
                  <a:lnTo>
                    <a:pt x="5983" y="4422"/>
                  </a:lnTo>
                  <a:lnTo>
                    <a:pt x="6028" y="4332"/>
                  </a:lnTo>
                  <a:lnTo>
                    <a:pt x="6046" y="4273"/>
                  </a:lnTo>
                  <a:lnTo>
                    <a:pt x="6031" y="4181"/>
                  </a:lnTo>
                  <a:lnTo>
                    <a:pt x="5928" y="4021"/>
                  </a:lnTo>
                  <a:lnTo>
                    <a:pt x="5948" y="3925"/>
                  </a:lnTo>
                  <a:lnTo>
                    <a:pt x="6052" y="3805"/>
                  </a:lnTo>
                  <a:lnTo>
                    <a:pt x="6097" y="3729"/>
                  </a:lnTo>
                  <a:lnTo>
                    <a:pt x="6107" y="3639"/>
                  </a:lnTo>
                  <a:lnTo>
                    <a:pt x="6135" y="3522"/>
                  </a:lnTo>
                  <a:lnTo>
                    <a:pt x="6197" y="3446"/>
                  </a:lnTo>
                  <a:lnTo>
                    <a:pt x="6332" y="3308"/>
                  </a:lnTo>
                  <a:lnTo>
                    <a:pt x="6418" y="3288"/>
                  </a:lnTo>
                  <a:lnTo>
                    <a:pt x="6512" y="3329"/>
                  </a:lnTo>
                  <a:lnTo>
                    <a:pt x="6588" y="3412"/>
                  </a:lnTo>
                  <a:lnTo>
                    <a:pt x="6619" y="3423"/>
                  </a:lnTo>
                  <a:lnTo>
                    <a:pt x="6680" y="3308"/>
                  </a:lnTo>
                  <a:lnTo>
                    <a:pt x="6711" y="3163"/>
                  </a:lnTo>
                  <a:lnTo>
                    <a:pt x="6722" y="3098"/>
                  </a:lnTo>
                  <a:lnTo>
                    <a:pt x="6701" y="2940"/>
                  </a:lnTo>
                  <a:lnTo>
                    <a:pt x="6733" y="2875"/>
                  </a:lnTo>
                  <a:lnTo>
                    <a:pt x="6771" y="2843"/>
                  </a:lnTo>
                  <a:lnTo>
                    <a:pt x="6836" y="2830"/>
                  </a:lnTo>
                  <a:lnTo>
                    <a:pt x="7061" y="2846"/>
                  </a:lnTo>
                  <a:lnTo>
                    <a:pt x="7385" y="2929"/>
                  </a:lnTo>
                  <a:lnTo>
                    <a:pt x="7447" y="2909"/>
                  </a:lnTo>
                  <a:lnTo>
                    <a:pt x="7489" y="2853"/>
                  </a:lnTo>
                  <a:lnTo>
                    <a:pt x="7412" y="2795"/>
                  </a:lnTo>
                  <a:lnTo>
                    <a:pt x="7398" y="2726"/>
                  </a:lnTo>
                  <a:lnTo>
                    <a:pt x="7436" y="2654"/>
                  </a:lnTo>
                  <a:lnTo>
                    <a:pt x="7454" y="2550"/>
                  </a:lnTo>
                  <a:lnTo>
                    <a:pt x="7478" y="2516"/>
                  </a:lnTo>
                  <a:lnTo>
                    <a:pt x="7489" y="2454"/>
                  </a:lnTo>
                  <a:lnTo>
                    <a:pt x="7471" y="2385"/>
                  </a:lnTo>
                  <a:lnTo>
                    <a:pt x="7433" y="2354"/>
                  </a:lnTo>
                  <a:lnTo>
                    <a:pt x="7420" y="2291"/>
                  </a:lnTo>
                  <a:lnTo>
                    <a:pt x="7458" y="2271"/>
                  </a:lnTo>
                  <a:lnTo>
                    <a:pt x="7619" y="2264"/>
                  </a:lnTo>
                  <a:lnTo>
                    <a:pt x="7637" y="2213"/>
                  </a:lnTo>
                  <a:lnTo>
                    <a:pt x="7692" y="2188"/>
                  </a:lnTo>
                  <a:lnTo>
                    <a:pt x="7751" y="2209"/>
                  </a:lnTo>
                  <a:lnTo>
                    <a:pt x="7817" y="2182"/>
                  </a:lnTo>
                  <a:lnTo>
                    <a:pt x="7789" y="2109"/>
                  </a:lnTo>
                  <a:lnTo>
                    <a:pt x="7771" y="2030"/>
                  </a:lnTo>
                  <a:lnTo>
                    <a:pt x="7855" y="1981"/>
                  </a:lnTo>
                  <a:lnTo>
                    <a:pt x="7954" y="2010"/>
                  </a:lnTo>
                  <a:lnTo>
                    <a:pt x="8047" y="2078"/>
                  </a:lnTo>
                  <a:lnTo>
                    <a:pt x="8293" y="2340"/>
                  </a:lnTo>
                  <a:lnTo>
                    <a:pt x="8344" y="2461"/>
                  </a:lnTo>
                  <a:lnTo>
                    <a:pt x="8389" y="2509"/>
                  </a:lnTo>
                  <a:lnTo>
                    <a:pt x="8573" y="2519"/>
                  </a:lnTo>
                  <a:lnTo>
                    <a:pt x="8690" y="2561"/>
                  </a:lnTo>
                  <a:lnTo>
                    <a:pt x="8772" y="2543"/>
                  </a:lnTo>
                  <a:lnTo>
                    <a:pt x="8870" y="2474"/>
                  </a:lnTo>
                  <a:lnTo>
                    <a:pt x="8977" y="2333"/>
                  </a:lnTo>
                  <a:lnTo>
                    <a:pt x="9049" y="2367"/>
                  </a:lnTo>
                  <a:lnTo>
                    <a:pt x="9129" y="2447"/>
                  </a:lnTo>
                  <a:lnTo>
                    <a:pt x="9160" y="2498"/>
                  </a:lnTo>
                  <a:lnTo>
                    <a:pt x="9239" y="2509"/>
                  </a:lnTo>
                  <a:lnTo>
                    <a:pt x="9339" y="2454"/>
                  </a:lnTo>
                  <a:lnTo>
                    <a:pt x="9415" y="2374"/>
                  </a:lnTo>
                  <a:lnTo>
                    <a:pt x="9459" y="2278"/>
                  </a:lnTo>
                  <a:lnTo>
                    <a:pt x="9615" y="2133"/>
                  </a:lnTo>
                  <a:lnTo>
                    <a:pt x="9615" y="2050"/>
                  </a:lnTo>
                  <a:lnTo>
                    <a:pt x="9570" y="1903"/>
                  </a:lnTo>
                  <a:lnTo>
                    <a:pt x="9553" y="1819"/>
                  </a:lnTo>
                  <a:lnTo>
                    <a:pt x="9533" y="1554"/>
                  </a:lnTo>
                  <a:lnTo>
                    <a:pt x="9580" y="1348"/>
                  </a:lnTo>
                  <a:lnTo>
                    <a:pt x="9636" y="1257"/>
                  </a:lnTo>
                  <a:lnTo>
                    <a:pt x="9712" y="1199"/>
                  </a:lnTo>
                  <a:lnTo>
                    <a:pt x="9874" y="1165"/>
                  </a:lnTo>
                  <a:lnTo>
                    <a:pt x="10102" y="1016"/>
                  </a:lnTo>
                  <a:lnTo>
                    <a:pt x="10254" y="965"/>
                  </a:lnTo>
                  <a:lnTo>
                    <a:pt x="10296" y="985"/>
                  </a:lnTo>
                  <a:lnTo>
                    <a:pt x="10392" y="1103"/>
                  </a:lnTo>
                  <a:lnTo>
                    <a:pt x="10475" y="1141"/>
                  </a:lnTo>
                  <a:lnTo>
                    <a:pt x="10603" y="1161"/>
                  </a:lnTo>
                  <a:lnTo>
                    <a:pt x="10751" y="1248"/>
                  </a:lnTo>
                  <a:lnTo>
                    <a:pt x="10844" y="1406"/>
                  </a:lnTo>
                  <a:lnTo>
                    <a:pt x="10878" y="1506"/>
                  </a:lnTo>
                  <a:lnTo>
                    <a:pt x="10778" y="1682"/>
                  </a:lnTo>
                  <a:lnTo>
                    <a:pt x="10775" y="1761"/>
                  </a:lnTo>
                  <a:lnTo>
                    <a:pt x="10796" y="1834"/>
                  </a:lnTo>
                  <a:lnTo>
                    <a:pt x="10876" y="1868"/>
                  </a:lnTo>
                  <a:lnTo>
                    <a:pt x="10896" y="1857"/>
                  </a:lnTo>
                  <a:lnTo>
                    <a:pt x="10938" y="1792"/>
                  </a:lnTo>
                  <a:lnTo>
                    <a:pt x="10945" y="1768"/>
                  </a:lnTo>
                  <a:lnTo>
                    <a:pt x="10931" y="1696"/>
                  </a:lnTo>
                  <a:lnTo>
                    <a:pt x="10938" y="1661"/>
                  </a:lnTo>
                  <a:lnTo>
                    <a:pt x="11124" y="1502"/>
                  </a:lnTo>
                  <a:lnTo>
                    <a:pt x="11155" y="1451"/>
                  </a:lnTo>
                  <a:lnTo>
                    <a:pt x="11148" y="1255"/>
                  </a:lnTo>
                  <a:lnTo>
                    <a:pt x="11317" y="1313"/>
                  </a:lnTo>
                  <a:lnTo>
                    <a:pt x="11389" y="1279"/>
                  </a:lnTo>
                  <a:lnTo>
                    <a:pt x="11400" y="1244"/>
                  </a:lnTo>
                  <a:lnTo>
                    <a:pt x="11404" y="1157"/>
                  </a:lnTo>
                  <a:lnTo>
                    <a:pt x="11386" y="1092"/>
                  </a:lnTo>
                  <a:close/>
                  <a:moveTo>
                    <a:pt x="54" y="12173"/>
                  </a:moveTo>
                  <a:lnTo>
                    <a:pt x="76" y="11997"/>
                  </a:lnTo>
                  <a:lnTo>
                    <a:pt x="61" y="11962"/>
                  </a:lnTo>
                  <a:lnTo>
                    <a:pt x="34" y="11990"/>
                  </a:lnTo>
                  <a:lnTo>
                    <a:pt x="0" y="12158"/>
                  </a:lnTo>
                  <a:lnTo>
                    <a:pt x="54" y="12173"/>
                  </a:lnTo>
                  <a:close/>
                  <a:moveTo>
                    <a:pt x="241" y="11572"/>
                  </a:moveTo>
                  <a:lnTo>
                    <a:pt x="272" y="11421"/>
                  </a:lnTo>
                  <a:lnTo>
                    <a:pt x="234" y="11353"/>
                  </a:lnTo>
                  <a:lnTo>
                    <a:pt x="197" y="11353"/>
                  </a:lnTo>
                  <a:lnTo>
                    <a:pt x="168" y="11469"/>
                  </a:lnTo>
                  <a:lnTo>
                    <a:pt x="165" y="11507"/>
                  </a:lnTo>
                  <a:lnTo>
                    <a:pt x="241" y="11572"/>
                  </a:lnTo>
                  <a:close/>
                  <a:moveTo>
                    <a:pt x="335" y="9457"/>
                  </a:moveTo>
                  <a:lnTo>
                    <a:pt x="359" y="9419"/>
                  </a:lnTo>
                  <a:lnTo>
                    <a:pt x="414" y="9398"/>
                  </a:lnTo>
                  <a:lnTo>
                    <a:pt x="424" y="9374"/>
                  </a:lnTo>
                  <a:lnTo>
                    <a:pt x="355" y="9332"/>
                  </a:lnTo>
                  <a:lnTo>
                    <a:pt x="335" y="9457"/>
                  </a:lnTo>
                  <a:close/>
                  <a:moveTo>
                    <a:pt x="862" y="9019"/>
                  </a:moveTo>
                  <a:lnTo>
                    <a:pt x="939" y="8908"/>
                  </a:lnTo>
                  <a:lnTo>
                    <a:pt x="928" y="8874"/>
                  </a:lnTo>
                  <a:lnTo>
                    <a:pt x="870" y="8853"/>
                  </a:lnTo>
                  <a:lnTo>
                    <a:pt x="842" y="8881"/>
                  </a:lnTo>
                  <a:lnTo>
                    <a:pt x="828" y="9015"/>
                  </a:lnTo>
                  <a:lnTo>
                    <a:pt x="862" y="9019"/>
                  </a:lnTo>
                  <a:close/>
                  <a:moveTo>
                    <a:pt x="197" y="10101"/>
                  </a:moveTo>
                  <a:lnTo>
                    <a:pt x="206" y="10080"/>
                  </a:lnTo>
                  <a:lnTo>
                    <a:pt x="107" y="10163"/>
                  </a:lnTo>
                  <a:lnTo>
                    <a:pt x="86" y="10221"/>
                  </a:lnTo>
                  <a:lnTo>
                    <a:pt x="86" y="10239"/>
                  </a:lnTo>
                  <a:lnTo>
                    <a:pt x="155" y="10225"/>
                  </a:lnTo>
                  <a:lnTo>
                    <a:pt x="193" y="10139"/>
                  </a:lnTo>
                  <a:lnTo>
                    <a:pt x="197" y="10101"/>
                  </a:lnTo>
                  <a:close/>
                  <a:moveTo>
                    <a:pt x="2292" y="7771"/>
                  </a:moveTo>
                  <a:lnTo>
                    <a:pt x="2330" y="7768"/>
                  </a:lnTo>
                  <a:lnTo>
                    <a:pt x="2340" y="7747"/>
                  </a:lnTo>
                  <a:lnTo>
                    <a:pt x="2392" y="7754"/>
                  </a:lnTo>
                  <a:lnTo>
                    <a:pt x="2427" y="7727"/>
                  </a:lnTo>
                  <a:lnTo>
                    <a:pt x="2441" y="7692"/>
                  </a:lnTo>
                  <a:lnTo>
                    <a:pt x="2551" y="7654"/>
                  </a:lnTo>
                  <a:lnTo>
                    <a:pt x="2631" y="7661"/>
                  </a:lnTo>
                  <a:lnTo>
                    <a:pt x="2613" y="7696"/>
                  </a:lnTo>
                  <a:lnTo>
                    <a:pt x="2644" y="7727"/>
                  </a:lnTo>
                  <a:lnTo>
                    <a:pt x="2655" y="7785"/>
                  </a:lnTo>
                  <a:lnTo>
                    <a:pt x="2461" y="7823"/>
                  </a:lnTo>
                  <a:lnTo>
                    <a:pt x="2351" y="7872"/>
                  </a:lnTo>
                  <a:lnTo>
                    <a:pt x="2309" y="7820"/>
                  </a:lnTo>
                  <a:lnTo>
                    <a:pt x="2292" y="7771"/>
                  </a:lnTo>
                  <a:close/>
                  <a:moveTo>
                    <a:pt x="9259" y="114"/>
                  </a:moveTo>
                  <a:lnTo>
                    <a:pt x="9321" y="179"/>
                  </a:lnTo>
                  <a:lnTo>
                    <a:pt x="9339" y="223"/>
                  </a:lnTo>
                  <a:lnTo>
                    <a:pt x="9280" y="214"/>
                  </a:lnTo>
                  <a:lnTo>
                    <a:pt x="9249" y="261"/>
                  </a:lnTo>
                  <a:lnTo>
                    <a:pt x="9214" y="248"/>
                  </a:lnTo>
                  <a:lnTo>
                    <a:pt x="9142" y="261"/>
                  </a:lnTo>
                  <a:lnTo>
                    <a:pt x="9125" y="238"/>
                  </a:lnTo>
                  <a:lnTo>
                    <a:pt x="9167" y="207"/>
                  </a:lnTo>
                  <a:lnTo>
                    <a:pt x="9173" y="169"/>
                  </a:lnTo>
                  <a:lnTo>
                    <a:pt x="9076" y="193"/>
                  </a:lnTo>
                  <a:lnTo>
                    <a:pt x="9080" y="158"/>
                  </a:lnTo>
                  <a:lnTo>
                    <a:pt x="9129" y="141"/>
                  </a:lnTo>
                  <a:lnTo>
                    <a:pt x="9187" y="149"/>
                  </a:lnTo>
                  <a:lnTo>
                    <a:pt x="9194" y="107"/>
                  </a:lnTo>
                  <a:lnTo>
                    <a:pt x="9180" y="80"/>
                  </a:lnTo>
                  <a:lnTo>
                    <a:pt x="9259" y="114"/>
                  </a:lnTo>
                  <a:close/>
                  <a:moveTo>
                    <a:pt x="8687" y="724"/>
                  </a:moveTo>
                  <a:lnTo>
                    <a:pt x="8659" y="755"/>
                  </a:lnTo>
                  <a:lnTo>
                    <a:pt x="8607" y="648"/>
                  </a:lnTo>
                  <a:lnTo>
                    <a:pt x="8569" y="559"/>
                  </a:lnTo>
                  <a:lnTo>
                    <a:pt x="8583" y="528"/>
                  </a:lnTo>
                  <a:lnTo>
                    <a:pt x="8607" y="572"/>
                  </a:lnTo>
                  <a:lnTo>
                    <a:pt x="8638" y="559"/>
                  </a:lnTo>
                  <a:lnTo>
                    <a:pt x="8687" y="589"/>
                  </a:lnTo>
                  <a:lnTo>
                    <a:pt x="8721" y="665"/>
                  </a:lnTo>
                  <a:lnTo>
                    <a:pt x="8725" y="713"/>
                  </a:lnTo>
                  <a:lnTo>
                    <a:pt x="8687" y="724"/>
                  </a:lnTo>
                  <a:close/>
                  <a:moveTo>
                    <a:pt x="8517" y="930"/>
                  </a:moveTo>
                  <a:lnTo>
                    <a:pt x="8493" y="920"/>
                  </a:lnTo>
                  <a:lnTo>
                    <a:pt x="8500" y="951"/>
                  </a:lnTo>
                  <a:lnTo>
                    <a:pt x="8473" y="982"/>
                  </a:lnTo>
                  <a:lnTo>
                    <a:pt x="8406" y="976"/>
                  </a:lnTo>
                  <a:lnTo>
                    <a:pt x="8372" y="941"/>
                  </a:lnTo>
                  <a:lnTo>
                    <a:pt x="8359" y="907"/>
                  </a:lnTo>
                  <a:lnTo>
                    <a:pt x="8362" y="876"/>
                  </a:lnTo>
                  <a:lnTo>
                    <a:pt x="8334" y="827"/>
                  </a:lnTo>
                  <a:lnTo>
                    <a:pt x="8359" y="789"/>
                  </a:lnTo>
                  <a:lnTo>
                    <a:pt x="8397" y="807"/>
                  </a:lnTo>
                  <a:lnTo>
                    <a:pt x="8406" y="740"/>
                  </a:lnTo>
                  <a:lnTo>
                    <a:pt x="8469" y="755"/>
                  </a:lnTo>
                  <a:lnTo>
                    <a:pt x="8493" y="706"/>
                  </a:lnTo>
                  <a:lnTo>
                    <a:pt x="8555" y="758"/>
                  </a:lnTo>
                  <a:lnTo>
                    <a:pt x="8569" y="803"/>
                  </a:lnTo>
                  <a:lnTo>
                    <a:pt x="8552" y="869"/>
                  </a:lnTo>
                  <a:lnTo>
                    <a:pt x="8517" y="930"/>
                  </a:lnTo>
                  <a:close/>
                  <a:moveTo>
                    <a:pt x="8103" y="655"/>
                  </a:moveTo>
                  <a:lnTo>
                    <a:pt x="8120" y="644"/>
                  </a:lnTo>
                  <a:lnTo>
                    <a:pt x="8116" y="620"/>
                  </a:lnTo>
                  <a:lnTo>
                    <a:pt x="8145" y="624"/>
                  </a:lnTo>
                  <a:lnTo>
                    <a:pt x="8154" y="600"/>
                  </a:lnTo>
                  <a:lnTo>
                    <a:pt x="8168" y="606"/>
                  </a:lnTo>
                  <a:lnTo>
                    <a:pt x="8179" y="671"/>
                  </a:lnTo>
                  <a:lnTo>
                    <a:pt x="8248" y="641"/>
                  </a:lnTo>
                  <a:lnTo>
                    <a:pt x="8237" y="579"/>
                  </a:lnTo>
                  <a:lnTo>
                    <a:pt x="8279" y="575"/>
                  </a:lnTo>
                  <a:lnTo>
                    <a:pt x="8299" y="613"/>
                  </a:lnTo>
                  <a:lnTo>
                    <a:pt x="8344" y="624"/>
                  </a:lnTo>
                  <a:lnTo>
                    <a:pt x="8369" y="651"/>
                  </a:lnTo>
                  <a:lnTo>
                    <a:pt x="8372" y="693"/>
                  </a:lnTo>
                  <a:lnTo>
                    <a:pt x="8337" y="696"/>
                  </a:lnTo>
                  <a:lnTo>
                    <a:pt x="8334" y="744"/>
                  </a:lnTo>
                  <a:lnTo>
                    <a:pt x="8310" y="775"/>
                  </a:lnTo>
                  <a:lnTo>
                    <a:pt x="8259" y="751"/>
                  </a:lnTo>
                  <a:lnTo>
                    <a:pt x="8234" y="796"/>
                  </a:lnTo>
                  <a:lnTo>
                    <a:pt x="8199" y="807"/>
                  </a:lnTo>
                  <a:lnTo>
                    <a:pt x="8172" y="782"/>
                  </a:lnTo>
                  <a:lnTo>
                    <a:pt x="8123" y="816"/>
                  </a:lnTo>
                  <a:lnTo>
                    <a:pt x="8099" y="778"/>
                  </a:lnTo>
                  <a:lnTo>
                    <a:pt x="8089" y="847"/>
                  </a:lnTo>
                  <a:lnTo>
                    <a:pt x="8047" y="734"/>
                  </a:lnTo>
                  <a:lnTo>
                    <a:pt x="8000" y="720"/>
                  </a:lnTo>
                  <a:lnTo>
                    <a:pt x="8038" y="679"/>
                  </a:lnTo>
                  <a:lnTo>
                    <a:pt x="8085" y="682"/>
                  </a:lnTo>
                  <a:lnTo>
                    <a:pt x="8103" y="655"/>
                  </a:lnTo>
                  <a:close/>
                  <a:moveTo>
                    <a:pt x="8293" y="1051"/>
                  </a:moveTo>
                  <a:lnTo>
                    <a:pt x="8189" y="1007"/>
                  </a:lnTo>
                  <a:lnTo>
                    <a:pt x="8176" y="969"/>
                  </a:lnTo>
                  <a:lnTo>
                    <a:pt x="8192" y="934"/>
                  </a:lnTo>
                  <a:lnTo>
                    <a:pt x="8313" y="951"/>
                  </a:lnTo>
                  <a:lnTo>
                    <a:pt x="8355" y="985"/>
                  </a:lnTo>
                  <a:lnTo>
                    <a:pt x="8366" y="1034"/>
                  </a:lnTo>
                  <a:lnTo>
                    <a:pt x="8293" y="1051"/>
                  </a:lnTo>
                  <a:close/>
                  <a:moveTo>
                    <a:pt x="7543" y="1127"/>
                  </a:moveTo>
                  <a:lnTo>
                    <a:pt x="7565" y="1123"/>
                  </a:lnTo>
                  <a:lnTo>
                    <a:pt x="7588" y="1165"/>
                  </a:lnTo>
                  <a:lnTo>
                    <a:pt x="7581" y="1206"/>
                  </a:lnTo>
                  <a:lnTo>
                    <a:pt x="7588" y="1292"/>
                  </a:lnTo>
                  <a:lnTo>
                    <a:pt x="7571" y="1310"/>
                  </a:lnTo>
                  <a:lnTo>
                    <a:pt x="7543" y="1299"/>
                  </a:lnTo>
                  <a:lnTo>
                    <a:pt x="7536" y="1241"/>
                  </a:lnTo>
                  <a:lnTo>
                    <a:pt x="7516" y="1279"/>
                  </a:lnTo>
                  <a:lnTo>
                    <a:pt x="7481" y="1257"/>
                  </a:lnTo>
                  <a:lnTo>
                    <a:pt x="7474" y="1196"/>
                  </a:lnTo>
                  <a:lnTo>
                    <a:pt x="7492" y="1148"/>
                  </a:lnTo>
                  <a:lnTo>
                    <a:pt x="7543" y="1127"/>
                  </a:lnTo>
                  <a:close/>
                  <a:moveTo>
                    <a:pt x="7237" y="1203"/>
                  </a:moveTo>
                  <a:lnTo>
                    <a:pt x="7246" y="1192"/>
                  </a:lnTo>
                  <a:lnTo>
                    <a:pt x="7257" y="1217"/>
                  </a:lnTo>
                  <a:lnTo>
                    <a:pt x="7281" y="1223"/>
                  </a:lnTo>
                  <a:lnTo>
                    <a:pt x="7329" y="1282"/>
                  </a:lnTo>
                  <a:lnTo>
                    <a:pt x="7309" y="1333"/>
                  </a:lnTo>
                  <a:lnTo>
                    <a:pt x="7206" y="1299"/>
                  </a:lnTo>
                  <a:lnTo>
                    <a:pt x="7161" y="1192"/>
                  </a:lnTo>
                  <a:lnTo>
                    <a:pt x="7126" y="1137"/>
                  </a:lnTo>
                  <a:lnTo>
                    <a:pt x="7146" y="1130"/>
                  </a:lnTo>
                  <a:lnTo>
                    <a:pt x="7181" y="1148"/>
                  </a:lnTo>
                  <a:lnTo>
                    <a:pt x="7208" y="1220"/>
                  </a:lnTo>
                  <a:lnTo>
                    <a:pt x="7237" y="1203"/>
                  </a:lnTo>
                  <a:close/>
                  <a:moveTo>
                    <a:pt x="6891" y="1355"/>
                  </a:moveTo>
                  <a:lnTo>
                    <a:pt x="6863" y="1389"/>
                  </a:lnTo>
                  <a:lnTo>
                    <a:pt x="6843" y="1375"/>
                  </a:lnTo>
                  <a:lnTo>
                    <a:pt x="6822" y="1326"/>
                  </a:lnTo>
                  <a:lnTo>
                    <a:pt x="6843" y="1299"/>
                  </a:lnTo>
                  <a:lnTo>
                    <a:pt x="6884" y="1317"/>
                  </a:lnTo>
                  <a:lnTo>
                    <a:pt x="6954" y="1313"/>
                  </a:lnTo>
                  <a:lnTo>
                    <a:pt x="6985" y="1320"/>
                  </a:lnTo>
                  <a:lnTo>
                    <a:pt x="6998" y="1340"/>
                  </a:lnTo>
                  <a:lnTo>
                    <a:pt x="6994" y="1420"/>
                  </a:lnTo>
                  <a:lnTo>
                    <a:pt x="7019" y="1420"/>
                  </a:lnTo>
                  <a:lnTo>
                    <a:pt x="7026" y="1386"/>
                  </a:lnTo>
                  <a:lnTo>
                    <a:pt x="7074" y="1361"/>
                  </a:lnTo>
                  <a:lnTo>
                    <a:pt x="7157" y="1386"/>
                  </a:lnTo>
                  <a:lnTo>
                    <a:pt x="7088" y="1537"/>
                  </a:lnTo>
                  <a:lnTo>
                    <a:pt x="7039" y="1567"/>
                  </a:lnTo>
                  <a:lnTo>
                    <a:pt x="6891" y="1475"/>
                  </a:lnTo>
                  <a:lnTo>
                    <a:pt x="6871" y="1427"/>
                  </a:lnTo>
                  <a:lnTo>
                    <a:pt x="6901" y="1447"/>
                  </a:lnTo>
                  <a:lnTo>
                    <a:pt x="6912" y="1358"/>
                  </a:lnTo>
                  <a:lnTo>
                    <a:pt x="6891" y="1355"/>
                  </a:lnTo>
                  <a:close/>
                  <a:moveTo>
                    <a:pt x="6680" y="1689"/>
                  </a:moveTo>
                  <a:lnTo>
                    <a:pt x="6764" y="1689"/>
                  </a:lnTo>
                  <a:lnTo>
                    <a:pt x="6780" y="1668"/>
                  </a:lnTo>
                  <a:lnTo>
                    <a:pt x="6787" y="1596"/>
                  </a:lnTo>
                  <a:lnTo>
                    <a:pt x="6825" y="1647"/>
                  </a:lnTo>
                  <a:lnTo>
                    <a:pt x="6846" y="1647"/>
                  </a:lnTo>
                  <a:lnTo>
                    <a:pt x="6860" y="1578"/>
                  </a:lnTo>
                  <a:lnTo>
                    <a:pt x="6856" y="1523"/>
                  </a:lnTo>
                  <a:lnTo>
                    <a:pt x="6925" y="1554"/>
                  </a:lnTo>
                  <a:lnTo>
                    <a:pt x="6954" y="1602"/>
                  </a:lnTo>
                  <a:lnTo>
                    <a:pt x="6905" y="1716"/>
                  </a:lnTo>
                  <a:lnTo>
                    <a:pt x="6905" y="1768"/>
                  </a:lnTo>
                  <a:lnTo>
                    <a:pt x="6735" y="1837"/>
                  </a:lnTo>
                  <a:lnTo>
                    <a:pt x="6626" y="1816"/>
                  </a:lnTo>
                  <a:lnTo>
                    <a:pt x="6628" y="1785"/>
                  </a:lnTo>
                  <a:lnTo>
                    <a:pt x="6677" y="1785"/>
                  </a:lnTo>
                  <a:lnTo>
                    <a:pt x="6695" y="1758"/>
                  </a:lnTo>
                  <a:lnTo>
                    <a:pt x="6680" y="1689"/>
                  </a:lnTo>
                  <a:close/>
                  <a:moveTo>
                    <a:pt x="6207" y="2198"/>
                  </a:moveTo>
                  <a:lnTo>
                    <a:pt x="6159" y="2168"/>
                  </a:lnTo>
                  <a:lnTo>
                    <a:pt x="6207" y="2171"/>
                  </a:lnTo>
                  <a:lnTo>
                    <a:pt x="6222" y="2147"/>
                  </a:lnTo>
                  <a:lnTo>
                    <a:pt x="6231" y="2109"/>
                  </a:lnTo>
                  <a:lnTo>
                    <a:pt x="6184" y="2092"/>
                  </a:lnTo>
                  <a:lnTo>
                    <a:pt x="6225" y="2075"/>
                  </a:lnTo>
                  <a:lnTo>
                    <a:pt x="6197" y="2048"/>
                  </a:lnTo>
                  <a:lnTo>
                    <a:pt x="6249" y="1995"/>
                  </a:lnTo>
                  <a:lnTo>
                    <a:pt x="6304" y="2026"/>
                  </a:lnTo>
                  <a:lnTo>
                    <a:pt x="6342" y="1975"/>
                  </a:lnTo>
                  <a:lnTo>
                    <a:pt x="6304" y="1933"/>
                  </a:lnTo>
                  <a:lnTo>
                    <a:pt x="6338" y="1912"/>
                  </a:lnTo>
                  <a:lnTo>
                    <a:pt x="6397" y="1937"/>
                  </a:lnTo>
                  <a:lnTo>
                    <a:pt x="6421" y="1906"/>
                  </a:lnTo>
                  <a:lnTo>
                    <a:pt x="6387" y="1823"/>
                  </a:lnTo>
                  <a:lnTo>
                    <a:pt x="6436" y="1885"/>
                  </a:lnTo>
                  <a:lnTo>
                    <a:pt x="6443" y="1830"/>
                  </a:lnTo>
                  <a:lnTo>
                    <a:pt x="6490" y="1823"/>
                  </a:lnTo>
                  <a:lnTo>
                    <a:pt x="6539" y="1906"/>
                  </a:lnTo>
                  <a:lnTo>
                    <a:pt x="6570" y="1941"/>
                  </a:lnTo>
                  <a:lnTo>
                    <a:pt x="6594" y="2019"/>
                  </a:lnTo>
                  <a:lnTo>
                    <a:pt x="6559" y="2092"/>
                  </a:lnTo>
                  <a:lnTo>
                    <a:pt x="6566" y="2220"/>
                  </a:lnTo>
                  <a:lnTo>
                    <a:pt x="6449" y="2240"/>
                  </a:lnTo>
                  <a:lnTo>
                    <a:pt x="6443" y="2195"/>
                  </a:lnTo>
                  <a:lnTo>
                    <a:pt x="6390" y="2213"/>
                  </a:lnTo>
                  <a:lnTo>
                    <a:pt x="6352" y="2305"/>
                  </a:lnTo>
                  <a:lnTo>
                    <a:pt x="6231" y="2323"/>
                  </a:lnTo>
                  <a:lnTo>
                    <a:pt x="6184" y="2358"/>
                  </a:lnTo>
                  <a:lnTo>
                    <a:pt x="6153" y="2309"/>
                  </a:lnTo>
                  <a:lnTo>
                    <a:pt x="6222" y="2257"/>
                  </a:lnTo>
                  <a:lnTo>
                    <a:pt x="6242" y="2220"/>
                  </a:lnTo>
                  <a:lnTo>
                    <a:pt x="6207" y="2198"/>
                  </a:lnTo>
                  <a:close/>
                  <a:moveTo>
                    <a:pt x="5428" y="3604"/>
                  </a:moveTo>
                  <a:lnTo>
                    <a:pt x="5413" y="3601"/>
                  </a:lnTo>
                  <a:lnTo>
                    <a:pt x="5386" y="3529"/>
                  </a:lnTo>
                  <a:lnTo>
                    <a:pt x="5448" y="3553"/>
                  </a:lnTo>
                  <a:lnTo>
                    <a:pt x="5500" y="3553"/>
                  </a:lnTo>
                  <a:lnTo>
                    <a:pt x="5573" y="3488"/>
                  </a:lnTo>
                  <a:lnTo>
                    <a:pt x="5589" y="3539"/>
                  </a:lnTo>
                  <a:lnTo>
                    <a:pt x="5575" y="3591"/>
                  </a:lnTo>
                  <a:lnTo>
                    <a:pt x="5520" y="3615"/>
                  </a:lnTo>
                  <a:lnTo>
                    <a:pt x="5486" y="3673"/>
                  </a:lnTo>
                  <a:lnTo>
                    <a:pt x="5417" y="3715"/>
                  </a:lnTo>
                  <a:lnTo>
                    <a:pt x="5375" y="3726"/>
                  </a:lnTo>
                  <a:lnTo>
                    <a:pt x="5341" y="3702"/>
                  </a:lnTo>
                  <a:lnTo>
                    <a:pt x="5386" y="3633"/>
                  </a:lnTo>
                  <a:lnTo>
                    <a:pt x="5430" y="3629"/>
                  </a:lnTo>
                  <a:lnTo>
                    <a:pt x="5428" y="3604"/>
                  </a:lnTo>
                  <a:close/>
                  <a:moveTo>
                    <a:pt x="5754" y="2206"/>
                  </a:moveTo>
                  <a:lnTo>
                    <a:pt x="5787" y="2202"/>
                  </a:lnTo>
                  <a:lnTo>
                    <a:pt x="5807" y="2099"/>
                  </a:lnTo>
                  <a:lnTo>
                    <a:pt x="5848" y="2095"/>
                  </a:lnTo>
                  <a:lnTo>
                    <a:pt x="5910" y="2130"/>
                  </a:lnTo>
                  <a:lnTo>
                    <a:pt x="5894" y="2175"/>
                  </a:lnTo>
                  <a:lnTo>
                    <a:pt x="5879" y="2254"/>
                  </a:lnTo>
                  <a:lnTo>
                    <a:pt x="5838" y="2347"/>
                  </a:lnTo>
                  <a:lnTo>
                    <a:pt x="5765" y="2398"/>
                  </a:lnTo>
                  <a:lnTo>
                    <a:pt x="5720" y="2420"/>
                  </a:lnTo>
                  <a:lnTo>
                    <a:pt x="5676" y="2416"/>
                  </a:lnTo>
                  <a:lnTo>
                    <a:pt x="5658" y="2374"/>
                  </a:lnTo>
                  <a:lnTo>
                    <a:pt x="5672" y="2291"/>
                  </a:lnTo>
                  <a:lnTo>
                    <a:pt x="5752" y="2244"/>
                  </a:lnTo>
                  <a:lnTo>
                    <a:pt x="5754" y="2206"/>
                  </a:lnTo>
                  <a:close/>
                  <a:moveTo>
                    <a:pt x="5237" y="2719"/>
                  </a:moveTo>
                  <a:lnTo>
                    <a:pt x="5261" y="2702"/>
                  </a:lnTo>
                  <a:lnTo>
                    <a:pt x="5254" y="2670"/>
                  </a:lnTo>
                  <a:lnTo>
                    <a:pt x="5258" y="2636"/>
                  </a:lnTo>
                  <a:lnTo>
                    <a:pt x="5285" y="2661"/>
                  </a:lnTo>
                  <a:lnTo>
                    <a:pt x="5306" y="2623"/>
                  </a:lnTo>
                  <a:lnTo>
                    <a:pt x="5348" y="2639"/>
                  </a:lnTo>
                  <a:lnTo>
                    <a:pt x="5368" y="2601"/>
                  </a:lnTo>
                  <a:lnTo>
                    <a:pt x="5390" y="2519"/>
                  </a:lnTo>
                  <a:lnTo>
                    <a:pt x="5424" y="2585"/>
                  </a:lnTo>
                  <a:lnTo>
                    <a:pt x="5479" y="2581"/>
                  </a:lnTo>
                  <a:lnTo>
                    <a:pt x="5479" y="2440"/>
                  </a:lnTo>
                  <a:lnTo>
                    <a:pt x="5566" y="2581"/>
                  </a:lnTo>
                  <a:lnTo>
                    <a:pt x="5566" y="2647"/>
                  </a:lnTo>
                  <a:lnTo>
                    <a:pt x="5579" y="2761"/>
                  </a:lnTo>
                  <a:lnTo>
                    <a:pt x="5524" y="2771"/>
                  </a:lnTo>
                  <a:lnTo>
                    <a:pt x="5479" y="2808"/>
                  </a:lnTo>
                  <a:lnTo>
                    <a:pt x="5424" y="2826"/>
                  </a:lnTo>
                  <a:lnTo>
                    <a:pt x="5399" y="2771"/>
                  </a:lnTo>
                  <a:lnTo>
                    <a:pt x="5448" y="2726"/>
                  </a:lnTo>
                  <a:lnTo>
                    <a:pt x="5475" y="2670"/>
                  </a:lnTo>
                  <a:lnTo>
                    <a:pt x="5428" y="2730"/>
                  </a:lnTo>
                  <a:lnTo>
                    <a:pt x="5386" y="2726"/>
                  </a:lnTo>
                  <a:lnTo>
                    <a:pt x="5251" y="2808"/>
                  </a:lnTo>
                  <a:lnTo>
                    <a:pt x="5227" y="2771"/>
                  </a:lnTo>
                  <a:lnTo>
                    <a:pt x="5237" y="2719"/>
                  </a:lnTo>
                  <a:close/>
                </a:path>
              </a:pathLst>
            </a:custGeom>
            <a:solidFill>
              <a:schemeClr val="accent1"/>
            </a:solidFill>
            <a:ln w="6350">
              <a:solidFill>
                <a:srgbClr val="FFFFFF"/>
              </a:solidFill>
            </a:ln>
          </p:spPr>
          <p:txBody>
            <a:bodyPr vert="eaVert" wrap="none" anchor="ctr"/>
            <a:lstStyle/>
            <a:p>
              <a:pPr marL="0" marR="0" lvl="0" indent="0" algn="l" defTabSz="8585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Finland">
              <a:extLst>
                <a:ext uri="{FF2B5EF4-FFF2-40B4-BE49-F238E27FC236}">
                  <a16:creationId xmlns:a16="http://schemas.microsoft.com/office/drawing/2014/main" id="{D90C6CB2-7D0F-54D1-939C-46299AE0F028}"/>
                </a:ext>
              </a:extLst>
            </p:cNvPr>
            <p:cNvSpPr>
              <a:spLocks/>
            </p:cNvSpPr>
            <p:nvPr/>
          </p:nvSpPr>
          <p:spPr bwMode="gray">
            <a:xfrm>
              <a:off x="5633438" y="2067607"/>
              <a:ext cx="1448642" cy="2709225"/>
            </a:xfrm>
            <a:custGeom>
              <a:avLst/>
              <a:gdLst/>
              <a:ahLst/>
              <a:cxnLst>
                <a:cxn ang="0">
                  <a:pos x="608" y="1785"/>
                </a:cxn>
                <a:cxn ang="0">
                  <a:pos x="1316" y="2429"/>
                </a:cxn>
                <a:cxn ang="0">
                  <a:pos x="1441" y="2929"/>
                </a:cxn>
                <a:cxn ang="0">
                  <a:pos x="1682" y="3664"/>
                </a:cxn>
                <a:cxn ang="0">
                  <a:pos x="1900" y="4342"/>
                </a:cxn>
                <a:cxn ang="0">
                  <a:pos x="2099" y="4391"/>
                </a:cxn>
                <a:cxn ang="0">
                  <a:pos x="2531" y="5052"/>
                </a:cxn>
                <a:cxn ang="0">
                  <a:pos x="2503" y="5289"/>
                </a:cxn>
                <a:cxn ang="0">
                  <a:pos x="2021" y="6031"/>
                </a:cxn>
                <a:cxn ang="0">
                  <a:pos x="1450" y="6985"/>
                </a:cxn>
                <a:cxn ang="0">
                  <a:pos x="1068" y="7251"/>
                </a:cxn>
                <a:cxn ang="0">
                  <a:pos x="954" y="7493"/>
                </a:cxn>
                <a:cxn ang="0">
                  <a:pos x="850" y="7934"/>
                </a:cxn>
                <a:cxn ang="0">
                  <a:pos x="1002" y="8467"/>
                </a:cxn>
                <a:cxn ang="0">
                  <a:pos x="1251" y="8888"/>
                </a:cxn>
                <a:cxn ang="0">
                  <a:pos x="1147" y="8975"/>
                </a:cxn>
                <a:cxn ang="0">
                  <a:pos x="1113" y="9377"/>
                </a:cxn>
                <a:cxn ang="0">
                  <a:pos x="1151" y="9670"/>
                </a:cxn>
                <a:cxn ang="0">
                  <a:pos x="1320" y="9811"/>
                </a:cxn>
                <a:cxn ang="0">
                  <a:pos x="1806" y="10036"/>
                </a:cxn>
                <a:cxn ang="0">
                  <a:pos x="2037" y="10218"/>
                </a:cxn>
                <a:cxn ang="0">
                  <a:pos x="2110" y="10573"/>
                </a:cxn>
                <a:cxn ang="0">
                  <a:pos x="2369" y="10432"/>
                </a:cxn>
                <a:cxn ang="0">
                  <a:pos x="2831" y="10287"/>
                </a:cxn>
                <a:cxn ang="0">
                  <a:pos x="3149" y="10112"/>
                </a:cxn>
                <a:cxn ang="0">
                  <a:pos x="3654" y="9833"/>
                </a:cxn>
                <a:cxn ang="0">
                  <a:pos x="3830" y="9715"/>
                </a:cxn>
                <a:cxn ang="0">
                  <a:pos x="4461" y="9584"/>
                </a:cxn>
                <a:cxn ang="0">
                  <a:pos x="5189" y="8670"/>
                </a:cxn>
                <a:cxn ang="0">
                  <a:pos x="5818" y="6666"/>
                </a:cxn>
                <a:cxn ang="0">
                  <a:pos x="5186" y="6234"/>
                </a:cxn>
                <a:cxn ang="0">
                  <a:pos x="5117" y="5510"/>
                </a:cxn>
                <a:cxn ang="0">
                  <a:pos x="4593" y="5011"/>
                </a:cxn>
                <a:cxn ang="0">
                  <a:pos x="4489" y="4425"/>
                </a:cxn>
                <a:cxn ang="0">
                  <a:pos x="4299" y="3667"/>
                </a:cxn>
                <a:cxn ang="0">
                  <a:pos x="3839" y="2978"/>
                </a:cxn>
                <a:cxn ang="0">
                  <a:pos x="3830" y="2048"/>
                </a:cxn>
                <a:cxn ang="0">
                  <a:pos x="3274" y="1712"/>
                </a:cxn>
                <a:cxn ang="0">
                  <a:pos x="3167" y="1137"/>
                </a:cxn>
                <a:cxn ang="0">
                  <a:pos x="3159" y="717"/>
                </a:cxn>
                <a:cxn ang="0">
                  <a:pos x="2856" y="176"/>
                </a:cxn>
                <a:cxn ang="0">
                  <a:pos x="2255" y="200"/>
                </a:cxn>
                <a:cxn ang="0">
                  <a:pos x="1934" y="854"/>
                </a:cxn>
                <a:cxn ang="0">
                  <a:pos x="1796" y="1409"/>
                </a:cxn>
                <a:cxn ang="0">
                  <a:pos x="1430" y="1402"/>
                </a:cxn>
                <a:cxn ang="0">
                  <a:pos x="954" y="1554"/>
                </a:cxn>
                <a:cxn ang="0">
                  <a:pos x="335" y="1045"/>
                </a:cxn>
                <a:cxn ang="0">
                  <a:pos x="132" y="1244"/>
                </a:cxn>
                <a:cxn ang="0">
                  <a:pos x="432" y="10139"/>
                </a:cxn>
                <a:cxn ang="0">
                  <a:pos x="321" y="10256"/>
                </a:cxn>
                <a:cxn ang="0">
                  <a:pos x="577" y="10466"/>
                </a:cxn>
                <a:cxn ang="0">
                  <a:pos x="557" y="10218"/>
                </a:cxn>
                <a:cxn ang="0">
                  <a:pos x="1396" y="10308"/>
                </a:cxn>
                <a:cxn ang="0">
                  <a:pos x="1961" y="10359"/>
                </a:cxn>
                <a:cxn ang="0">
                  <a:pos x="1827" y="10311"/>
                </a:cxn>
              </a:cxnLst>
              <a:rect l="0" t="0" r="r" b="b"/>
              <a:pathLst>
                <a:path w="5898" h="10584">
                  <a:moveTo>
                    <a:pt x="0" y="1299"/>
                  </a:moveTo>
                  <a:lnTo>
                    <a:pt x="18" y="1295"/>
                  </a:lnTo>
                  <a:lnTo>
                    <a:pt x="38" y="1326"/>
                  </a:lnTo>
                  <a:lnTo>
                    <a:pt x="363" y="1602"/>
                  </a:lnTo>
                  <a:lnTo>
                    <a:pt x="608" y="1785"/>
                  </a:lnTo>
                  <a:lnTo>
                    <a:pt x="870" y="1834"/>
                  </a:lnTo>
                  <a:lnTo>
                    <a:pt x="1019" y="1933"/>
                  </a:lnTo>
                  <a:lnTo>
                    <a:pt x="1312" y="2291"/>
                  </a:lnTo>
                  <a:lnTo>
                    <a:pt x="1336" y="2336"/>
                  </a:lnTo>
                  <a:lnTo>
                    <a:pt x="1316" y="2429"/>
                  </a:lnTo>
                  <a:lnTo>
                    <a:pt x="1316" y="2536"/>
                  </a:lnTo>
                  <a:lnTo>
                    <a:pt x="1340" y="2681"/>
                  </a:lnTo>
                  <a:lnTo>
                    <a:pt x="1368" y="2781"/>
                  </a:lnTo>
                  <a:lnTo>
                    <a:pt x="1409" y="2826"/>
                  </a:lnTo>
                  <a:lnTo>
                    <a:pt x="1441" y="2929"/>
                  </a:lnTo>
                  <a:lnTo>
                    <a:pt x="1416" y="3078"/>
                  </a:lnTo>
                  <a:lnTo>
                    <a:pt x="1454" y="3194"/>
                  </a:lnTo>
                  <a:lnTo>
                    <a:pt x="1664" y="3501"/>
                  </a:lnTo>
                  <a:lnTo>
                    <a:pt x="1679" y="3595"/>
                  </a:lnTo>
                  <a:lnTo>
                    <a:pt x="1682" y="3664"/>
                  </a:lnTo>
                  <a:lnTo>
                    <a:pt x="1630" y="3773"/>
                  </a:lnTo>
                  <a:lnTo>
                    <a:pt x="1617" y="3905"/>
                  </a:lnTo>
                  <a:lnTo>
                    <a:pt x="1668" y="4052"/>
                  </a:lnTo>
                  <a:lnTo>
                    <a:pt x="1827" y="4288"/>
                  </a:lnTo>
                  <a:lnTo>
                    <a:pt x="1900" y="4342"/>
                  </a:lnTo>
                  <a:lnTo>
                    <a:pt x="1938" y="4349"/>
                  </a:lnTo>
                  <a:lnTo>
                    <a:pt x="1972" y="4397"/>
                  </a:lnTo>
                  <a:lnTo>
                    <a:pt x="2030" y="4418"/>
                  </a:lnTo>
                  <a:lnTo>
                    <a:pt x="2065" y="4370"/>
                  </a:lnTo>
                  <a:lnTo>
                    <a:pt x="2099" y="4391"/>
                  </a:lnTo>
                  <a:lnTo>
                    <a:pt x="2141" y="4494"/>
                  </a:lnTo>
                  <a:lnTo>
                    <a:pt x="2282" y="4560"/>
                  </a:lnTo>
                  <a:lnTo>
                    <a:pt x="2456" y="4721"/>
                  </a:lnTo>
                  <a:lnTo>
                    <a:pt x="2514" y="4821"/>
                  </a:lnTo>
                  <a:lnTo>
                    <a:pt x="2531" y="5052"/>
                  </a:lnTo>
                  <a:lnTo>
                    <a:pt x="2645" y="5190"/>
                  </a:lnTo>
                  <a:lnTo>
                    <a:pt x="2576" y="5190"/>
                  </a:lnTo>
                  <a:lnTo>
                    <a:pt x="2559" y="5253"/>
                  </a:lnTo>
                  <a:lnTo>
                    <a:pt x="2597" y="5327"/>
                  </a:lnTo>
                  <a:lnTo>
                    <a:pt x="2503" y="5289"/>
                  </a:lnTo>
                  <a:lnTo>
                    <a:pt x="2418" y="5311"/>
                  </a:lnTo>
                  <a:lnTo>
                    <a:pt x="2282" y="5390"/>
                  </a:lnTo>
                  <a:lnTo>
                    <a:pt x="2248" y="5676"/>
                  </a:lnTo>
                  <a:lnTo>
                    <a:pt x="2155" y="5793"/>
                  </a:lnTo>
                  <a:lnTo>
                    <a:pt x="2021" y="6031"/>
                  </a:lnTo>
                  <a:lnTo>
                    <a:pt x="1844" y="6276"/>
                  </a:lnTo>
                  <a:lnTo>
                    <a:pt x="1731" y="6483"/>
                  </a:lnTo>
                  <a:lnTo>
                    <a:pt x="1579" y="6827"/>
                  </a:lnTo>
                  <a:lnTo>
                    <a:pt x="1503" y="6889"/>
                  </a:lnTo>
                  <a:lnTo>
                    <a:pt x="1450" y="6985"/>
                  </a:lnTo>
                  <a:lnTo>
                    <a:pt x="1416" y="7023"/>
                  </a:lnTo>
                  <a:lnTo>
                    <a:pt x="1365" y="7110"/>
                  </a:lnTo>
                  <a:lnTo>
                    <a:pt x="1191" y="7148"/>
                  </a:lnTo>
                  <a:lnTo>
                    <a:pt x="1113" y="7123"/>
                  </a:lnTo>
                  <a:lnTo>
                    <a:pt x="1068" y="7251"/>
                  </a:lnTo>
                  <a:lnTo>
                    <a:pt x="1151" y="7320"/>
                  </a:lnTo>
                  <a:lnTo>
                    <a:pt x="1115" y="7344"/>
                  </a:lnTo>
                  <a:lnTo>
                    <a:pt x="964" y="7375"/>
                  </a:lnTo>
                  <a:lnTo>
                    <a:pt x="974" y="7420"/>
                  </a:lnTo>
                  <a:lnTo>
                    <a:pt x="954" y="7493"/>
                  </a:lnTo>
                  <a:lnTo>
                    <a:pt x="895" y="7506"/>
                  </a:lnTo>
                  <a:lnTo>
                    <a:pt x="870" y="7527"/>
                  </a:lnTo>
                  <a:lnTo>
                    <a:pt x="843" y="7592"/>
                  </a:lnTo>
                  <a:lnTo>
                    <a:pt x="809" y="7758"/>
                  </a:lnTo>
                  <a:lnTo>
                    <a:pt x="850" y="7934"/>
                  </a:lnTo>
                  <a:lnTo>
                    <a:pt x="877" y="7995"/>
                  </a:lnTo>
                  <a:lnTo>
                    <a:pt x="923" y="8044"/>
                  </a:lnTo>
                  <a:lnTo>
                    <a:pt x="968" y="8150"/>
                  </a:lnTo>
                  <a:lnTo>
                    <a:pt x="954" y="8378"/>
                  </a:lnTo>
                  <a:lnTo>
                    <a:pt x="1002" y="8467"/>
                  </a:lnTo>
                  <a:lnTo>
                    <a:pt x="1084" y="8543"/>
                  </a:lnTo>
                  <a:lnTo>
                    <a:pt x="1099" y="8636"/>
                  </a:lnTo>
                  <a:lnTo>
                    <a:pt x="1147" y="8770"/>
                  </a:lnTo>
                  <a:lnTo>
                    <a:pt x="1195" y="8843"/>
                  </a:lnTo>
                  <a:lnTo>
                    <a:pt x="1251" y="8888"/>
                  </a:lnTo>
                  <a:lnTo>
                    <a:pt x="1260" y="8915"/>
                  </a:lnTo>
                  <a:lnTo>
                    <a:pt x="1209" y="8871"/>
                  </a:lnTo>
                  <a:lnTo>
                    <a:pt x="1160" y="8877"/>
                  </a:lnTo>
                  <a:lnTo>
                    <a:pt x="1133" y="8919"/>
                  </a:lnTo>
                  <a:lnTo>
                    <a:pt x="1147" y="8975"/>
                  </a:lnTo>
                  <a:lnTo>
                    <a:pt x="1140" y="9036"/>
                  </a:lnTo>
                  <a:lnTo>
                    <a:pt x="1164" y="9112"/>
                  </a:lnTo>
                  <a:lnTo>
                    <a:pt x="1175" y="9243"/>
                  </a:lnTo>
                  <a:lnTo>
                    <a:pt x="1140" y="9374"/>
                  </a:lnTo>
                  <a:lnTo>
                    <a:pt x="1113" y="9377"/>
                  </a:lnTo>
                  <a:lnTo>
                    <a:pt x="1091" y="9470"/>
                  </a:lnTo>
                  <a:lnTo>
                    <a:pt x="1129" y="9522"/>
                  </a:lnTo>
                  <a:lnTo>
                    <a:pt x="1140" y="9574"/>
                  </a:lnTo>
                  <a:lnTo>
                    <a:pt x="1129" y="9622"/>
                  </a:lnTo>
                  <a:lnTo>
                    <a:pt x="1151" y="9670"/>
                  </a:lnTo>
                  <a:lnTo>
                    <a:pt x="1223" y="9695"/>
                  </a:lnTo>
                  <a:lnTo>
                    <a:pt x="1216" y="9739"/>
                  </a:lnTo>
                  <a:lnTo>
                    <a:pt x="1164" y="9749"/>
                  </a:lnTo>
                  <a:lnTo>
                    <a:pt x="1185" y="9815"/>
                  </a:lnTo>
                  <a:lnTo>
                    <a:pt x="1320" y="9811"/>
                  </a:lnTo>
                  <a:lnTo>
                    <a:pt x="1430" y="9871"/>
                  </a:lnTo>
                  <a:lnTo>
                    <a:pt x="1492" y="9925"/>
                  </a:lnTo>
                  <a:lnTo>
                    <a:pt x="1602" y="9970"/>
                  </a:lnTo>
                  <a:lnTo>
                    <a:pt x="1775" y="9994"/>
                  </a:lnTo>
                  <a:lnTo>
                    <a:pt x="1806" y="10036"/>
                  </a:lnTo>
                  <a:lnTo>
                    <a:pt x="1789" y="10108"/>
                  </a:lnTo>
                  <a:lnTo>
                    <a:pt x="1872" y="10152"/>
                  </a:lnTo>
                  <a:lnTo>
                    <a:pt x="2010" y="10052"/>
                  </a:lnTo>
                  <a:lnTo>
                    <a:pt x="2027" y="10101"/>
                  </a:lnTo>
                  <a:lnTo>
                    <a:pt x="2037" y="10218"/>
                  </a:lnTo>
                  <a:lnTo>
                    <a:pt x="2141" y="10342"/>
                  </a:lnTo>
                  <a:lnTo>
                    <a:pt x="2141" y="10408"/>
                  </a:lnTo>
                  <a:lnTo>
                    <a:pt x="2220" y="10435"/>
                  </a:lnTo>
                  <a:lnTo>
                    <a:pt x="2197" y="10497"/>
                  </a:lnTo>
                  <a:lnTo>
                    <a:pt x="2110" y="10573"/>
                  </a:lnTo>
                  <a:lnTo>
                    <a:pt x="2159" y="10584"/>
                  </a:lnTo>
                  <a:lnTo>
                    <a:pt x="2255" y="10522"/>
                  </a:lnTo>
                  <a:lnTo>
                    <a:pt x="2335" y="10321"/>
                  </a:lnTo>
                  <a:lnTo>
                    <a:pt x="2362" y="10339"/>
                  </a:lnTo>
                  <a:lnTo>
                    <a:pt x="2369" y="10432"/>
                  </a:lnTo>
                  <a:lnTo>
                    <a:pt x="2424" y="10442"/>
                  </a:lnTo>
                  <a:lnTo>
                    <a:pt x="2639" y="10297"/>
                  </a:lnTo>
                  <a:lnTo>
                    <a:pt x="2717" y="10290"/>
                  </a:lnTo>
                  <a:lnTo>
                    <a:pt x="2784" y="10252"/>
                  </a:lnTo>
                  <a:lnTo>
                    <a:pt x="2831" y="10287"/>
                  </a:lnTo>
                  <a:lnTo>
                    <a:pt x="2859" y="10290"/>
                  </a:lnTo>
                  <a:lnTo>
                    <a:pt x="2938" y="10177"/>
                  </a:lnTo>
                  <a:lnTo>
                    <a:pt x="3007" y="10114"/>
                  </a:lnTo>
                  <a:lnTo>
                    <a:pt x="3080" y="10090"/>
                  </a:lnTo>
                  <a:lnTo>
                    <a:pt x="3149" y="10112"/>
                  </a:lnTo>
                  <a:lnTo>
                    <a:pt x="3291" y="10001"/>
                  </a:lnTo>
                  <a:lnTo>
                    <a:pt x="3377" y="9980"/>
                  </a:lnTo>
                  <a:lnTo>
                    <a:pt x="3429" y="9839"/>
                  </a:lnTo>
                  <a:lnTo>
                    <a:pt x="3484" y="9925"/>
                  </a:lnTo>
                  <a:lnTo>
                    <a:pt x="3654" y="9833"/>
                  </a:lnTo>
                  <a:lnTo>
                    <a:pt x="3612" y="9746"/>
                  </a:lnTo>
                  <a:lnTo>
                    <a:pt x="3640" y="9770"/>
                  </a:lnTo>
                  <a:lnTo>
                    <a:pt x="3723" y="9787"/>
                  </a:lnTo>
                  <a:lnTo>
                    <a:pt x="3777" y="9773"/>
                  </a:lnTo>
                  <a:lnTo>
                    <a:pt x="3830" y="9715"/>
                  </a:lnTo>
                  <a:lnTo>
                    <a:pt x="4002" y="9677"/>
                  </a:lnTo>
                  <a:lnTo>
                    <a:pt x="4109" y="9608"/>
                  </a:lnTo>
                  <a:lnTo>
                    <a:pt x="4192" y="9553"/>
                  </a:lnTo>
                  <a:lnTo>
                    <a:pt x="4281" y="9591"/>
                  </a:lnTo>
                  <a:lnTo>
                    <a:pt x="4461" y="9584"/>
                  </a:lnTo>
                  <a:lnTo>
                    <a:pt x="4499" y="9546"/>
                  </a:lnTo>
                  <a:lnTo>
                    <a:pt x="4524" y="9492"/>
                  </a:lnTo>
                  <a:lnTo>
                    <a:pt x="4533" y="9505"/>
                  </a:lnTo>
                  <a:lnTo>
                    <a:pt x="4823" y="9194"/>
                  </a:lnTo>
                  <a:lnTo>
                    <a:pt x="5189" y="8670"/>
                  </a:lnTo>
                  <a:lnTo>
                    <a:pt x="5452" y="8222"/>
                  </a:lnTo>
                  <a:lnTo>
                    <a:pt x="5769" y="7530"/>
                  </a:lnTo>
                  <a:lnTo>
                    <a:pt x="5838" y="7341"/>
                  </a:lnTo>
                  <a:lnTo>
                    <a:pt x="5898" y="6989"/>
                  </a:lnTo>
                  <a:lnTo>
                    <a:pt x="5818" y="6666"/>
                  </a:lnTo>
                  <a:lnTo>
                    <a:pt x="5791" y="6713"/>
                  </a:lnTo>
                  <a:lnTo>
                    <a:pt x="5662" y="6589"/>
                  </a:lnTo>
                  <a:lnTo>
                    <a:pt x="5590" y="6455"/>
                  </a:lnTo>
                  <a:lnTo>
                    <a:pt x="5283" y="6317"/>
                  </a:lnTo>
                  <a:lnTo>
                    <a:pt x="5186" y="6234"/>
                  </a:lnTo>
                  <a:lnTo>
                    <a:pt x="5093" y="6089"/>
                  </a:lnTo>
                  <a:lnTo>
                    <a:pt x="5100" y="5955"/>
                  </a:lnTo>
                  <a:lnTo>
                    <a:pt x="5155" y="5813"/>
                  </a:lnTo>
                  <a:lnTo>
                    <a:pt x="5166" y="5659"/>
                  </a:lnTo>
                  <a:lnTo>
                    <a:pt x="5117" y="5510"/>
                  </a:lnTo>
                  <a:lnTo>
                    <a:pt x="4952" y="5421"/>
                  </a:lnTo>
                  <a:lnTo>
                    <a:pt x="4858" y="5300"/>
                  </a:lnTo>
                  <a:lnTo>
                    <a:pt x="4834" y="5142"/>
                  </a:lnTo>
                  <a:lnTo>
                    <a:pt x="4731" y="5017"/>
                  </a:lnTo>
                  <a:lnTo>
                    <a:pt x="4593" y="5011"/>
                  </a:lnTo>
                  <a:lnTo>
                    <a:pt x="4548" y="4852"/>
                  </a:lnTo>
                  <a:lnTo>
                    <a:pt x="4571" y="4756"/>
                  </a:lnTo>
                  <a:lnTo>
                    <a:pt x="4527" y="4618"/>
                  </a:lnTo>
                  <a:lnTo>
                    <a:pt x="4482" y="4549"/>
                  </a:lnTo>
                  <a:lnTo>
                    <a:pt x="4489" y="4425"/>
                  </a:lnTo>
                  <a:lnTo>
                    <a:pt x="4457" y="4250"/>
                  </a:lnTo>
                  <a:lnTo>
                    <a:pt x="4548" y="4136"/>
                  </a:lnTo>
                  <a:lnTo>
                    <a:pt x="4510" y="4025"/>
                  </a:lnTo>
                  <a:lnTo>
                    <a:pt x="4455" y="3909"/>
                  </a:lnTo>
                  <a:lnTo>
                    <a:pt x="4299" y="3667"/>
                  </a:lnTo>
                  <a:lnTo>
                    <a:pt x="4140" y="3497"/>
                  </a:lnTo>
                  <a:lnTo>
                    <a:pt x="4082" y="3370"/>
                  </a:lnTo>
                  <a:lnTo>
                    <a:pt x="3999" y="3254"/>
                  </a:lnTo>
                  <a:lnTo>
                    <a:pt x="3888" y="3125"/>
                  </a:lnTo>
                  <a:lnTo>
                    <a:pt x="3839" y="2978"/>
                  </a:lnTo>
                  <a:lnTo>
                    <a:pt x="3868" y="2881"/>
                  </a:lnTo>
                  <a:lnTo>
                    <a:pt x="3922" y="2550"/>
                  </a:lnTo>
                  <a:lnTo>
                    <a:pt x="3991" y="2278"/>
                  </a:lnTo>
                  <a:lnTo>
                    <a:pt x="3930" y="2130"/>
                  </a:lnTo>
                  <a:lnTo>
                    <a:pt x="3830" y="2048"/>
                  </a:lnTo>
                  <a:lnTo>
                    <a:pt x="3625" y="1819"/>
                  </a:lnTo>
                  <a:lnTo>
                    <a:pt x="3505" y="1785"/>
                  </a:lnTo>
                  <a:lnTo>
                    <a:pt x="3402" y="1788"/>
                  </a:lnTo>
                  <a:lnTo>
                    <a:pt x="3322" y="1754"/>
                  </a:lnTo>
                  <a:lnTo>
                    <a:pt x="3274" y="1712"/>
                  </a:lnTo>
                  <a:lnTo>
                    <a:pt x="3208" y="1589"/>
                  </a:lnTo>
                  <a:lnTo>
                    <a:pt x="3149" y="1427"/>
                  </a:lnTo>
                  <a:lnTo>
                    <a:pt x="3143" y="1361"/>
                  </a:lnTo>
                  <a:lnTo>
                    <a:pt x="3177" y="1161"/>
                  </a:lnTo>
                  <a:lnTo>
                    <a:pt x="3167" y="1137"/>
                  </a:lnTo>
                  <a:lnTo>
                    <a:pt x="3094" y="1113"/>
                  </a:lnTo>
                  <a:lnTo>
                    <a:pt x="3257" y="903"/>
                  </a:lnTo>
                  <a:lnTo>
                    <a:pt x="3177" y="869"/>
                  </a:lnTo>
                  <a:lnTo>
                    <a:pt x="3156" y="796"/>
                  </a:lnTo>
                  <a:lnTo>
                    <a:pt x="3159" y="717"/>
                  </a:lnTo>
                  <a:lnTo>
                    <a:pt x="3259" y="541"/>
                  </a:lnTo>
                  <a:lnTo>
                    <a:pt x="3225" y="441"/>
                  </a:lnTo>
                  <a:lnTo>
                    <a:pt x="3132" y="283"/>
                  </a:lnTo>
                  <a:lnTo>
                    <a:pt x="2984" y="196"/>
                  </a:lnTo>
                  <a:lnTo>
                    <a:pt x="2856" y="176"/>
                  </a:lnTo>
                  <a:lnTo>
                    <a:pt x="2773" y="138"/>
                  </a:lnTo>
                  <a:lnTo>
                    <a:pt x="2677" y="20"/>
                  </a:lnTo>
                  <a:lnTo>
                    <a:pt x="2635" y="0"/>
                  </a:lnTo>
                  <a:lnTo>
                    <a:pt x="2483" y="51"/>
                  </a:lnTo>
                  <a:lnTo>
                    <a:pt x="2255" y="200"/>
                  </a:lnTo>
                  <a:lnTo>
                    <a:pt x="2093" y="234"/>
                  </a:lnTo>
                  <a:lnTo>
                    <a:pt x="2017" y="292"/>
                  </a:lnTo>
                  <a:lnTo>
                    <a:pt x="1961" y="383"/>
                  </a:lnTo>
                  <a:lnTo>
                    <a:pt x="1914" y="589"/>
                  </a:lnTo>
                  <a:lnTo>
                    <a:pt x="1934" y="854"/>
                  </a:lnTo>
                  <a:lnTo>
                    <a:pt x="1951" y="938"/>
                  </a:lnTo>
                  <a:lnTo>
                    <a:pt x="1996" y="1085"/>
                  </a:lnTo>
                  <a:lnTo>
                    <a:pt x="1996" y="1168"/>
                  </a:lnTo>
                  <a:lnTo>
                    <a:pt x="1840" y="1313"/>
                  </a:lnTo>
                  <a:lnTo>
                    <a:pt x="1796" y="1409"/>
                  </a:lnTo>
                  <a:lnTo>
                    <a:pt x="1720" y="1489"/>
                  </a:lnTo>
                  <a:lnTo>
                    <a:pt x="1620" y="1544"/>
                  </a:lnTo>
                  <a:lnTo>
                    <a:pt x="1541" y="1533"/>
                  </a:lnTo>
                  <a:lnTo>
                    <a:pt x="1510" y="1482"/>
                  </a:lnTo>
                  <a:lnTo>
                    <a:pt x="1430" y="1402"/>
                  </a:lnTo>
                  <a:lnTo>
                    <a:pt x="1358" y="1368"/>
                  </a:lnTo>
                  <a:lnTo>
                    <a:pt x="1251" y="1509"/>
                  </a:lnTo>
                  <a:lnTo>
                    <a:pt x="1153" y="1578"/>
                  </a:lnTo>
                  <a:lnTo>
                    <a:pt x="1071" y="1596"/>
                  </a:lnTo>
                  <a:lnTo>
                    <a:pt x="954" y="1554"/>
                  </a:lnTo>
                  <a:lnTo>
                    <a:pt x="770" y="1544"/>
                  </a:lnTo>
                  <a:lnTo>
                    <a:pt x="725" y="1496"/>
                  </a:lnTo>
                  <a:lnTo>
                    <a:pt x="674" y="1375"/>
                  </a:lnTo>
                  <a:lnTo>
                    <a:pt x="428" y="1113"/>
                  </a:lnTo>
                  <a:lnTo>
                    <a:pt x="335" y="1045"/>
                  </a:lnTo>
                  <a:lnTo>
                    <a:pt x="236" y="1016"/>
                  </a:lnTo>
                  <a:lnTo>
                    <a:pt x="152" y="1065"/>
                  </a:lnTo>
                  <a:lnTo>
                    <a:pt x="170" y="1144"/>
                  </a:lnTo>
                  <a:lnTo>
                    <a:pt x="198" y="1217"/>
                  </a:lnTo>
                  <a:lnTo>
                    <a:pt x="132" y="1244"/>
                  </a:lnTo>
                  <a:lnTo>
                    <a:pt x="73" y="1223"/>
                  </a:lnTo>
                  <a:lnTo>
                    <a:pt x="18" y="1248"/>
                  </a:lnTo>
                  <a:lnTo>
                    <a:pt x="0" y="1299"/>
                  </a:lnTo>
                  <a:close/>
                  <a:moveTo>
                    <a:pt x="504" y="10156"/>
                  </a:moveTo>
                  <a:lnTo>
                    <a:pt x="432" y="10139"/>
                  </a:lnTo>
                  <a:lnTo>
                    <a:pt x="401" y="10114"/>
                  </a:lnTo>
                  <a:lnTo>
                    <a:pt x="346" y="10163"/>
                  </a:lnTo>
                  <a:lnTo>
                    <a:pt x="384" y="10205"/>
                  </a:lnTo>
                  <a:lnTo>
                    <a:pt x="384" y="10270"/>
                  </a:lnTo>
                  <a:lnTo>
                    <a:pt x="321" y="10256"/>
                  </a:lnTo>
                  <a:lnTo>
                    <a:pt x="318" y="10342"/>
                  </a:lnTo>
                  <a:lnTo>
                    <a:pt x="335" y="10428"/>
                  </a:lnTo>
                  <a:lnTo>
                    <a:pt x="470" y="10459"/>
                  </a:lnTo>
                  <a:lnTo>
                    <a:pt x="546" y="10535"/>
                  </a:lnTo>
                  <a:lnTo>
                    <a:pt x="577" y="10466"/>
                  </a:lnTo>
                  <a:lnTo>
                    <a:pt x="508" y="10435"/>
                  </a:lnTo>
                  <a:lnTo>
                    <a:pt x="480" y="10355"/>
                  </a:lnTo>
                  <a:lnTo>
                    <a:pt x="533" y="10328"/>
                  </a:lnTo>
                  <a:lnTo>
                    <a:pt x="557" y="10263"/>
                  </a:lnTo>
                  <a:lnTo>
                    <a:pt x="557" y="10218"/>
                  </a:lnTo>
                  <a:lnTo>
                    <a:pt x="504" y="10156"/>
                  </a:lnTo>
                  <a:close/>
                  <a:moveTo>
                    <a:pt x="1492" y="10270"/>
                  </a:moveTo>
                  <a:lnTo>
                    <a:pt x="1465" y="10228"/>
                  </a:lnTo>
                  <a:lnTo>
                    <a:pt x="1405" y="10243"/>
                  </a:lnTo>
                  <a:lnTo>
                    <a:pt x="1396" y="10308"/>
                  </a:lnTo>
                  <a:lnTo>
                    <a:pt x="1441" y="10350"/>
                  </a:lnTo>
                  <a:lnTo>
                    <a:pt x="1492" y="10346"/>
                  </a:lnTo>
                  <a:lnTo>
                    <a:pt x="1492" y="10270"/>
                  </a:lnTo>
                  <a:close/>
                  <a:moveTo>
                    <a:pt x="1934" y="10401"/>
                  </a:moveTo>
                  <a:lnTo>
                    <a:pt x="1961" y="10359"/>
                  </a:lnTo>
                  <a:lnTo>
                    <a:pt x="1983" y="10270"/>
                  </a:lnTo>
                  <a:lnTo>
                    <a:pt x="1983" y="10128"/>
                  </a:lnTo>
                  <a:lnTo>
                    <a:pt x="1951" y="10167"/>
                  </a:lnTo>
                  <a:lnTo>
                    <a:pt x="1824" y="10235"/>
                  </a:lnTo>
                  <a:lnTo>
                    <a:pt x="1827" y="10311"/>
                  </a:lnTo>
                  <a:lnTo>
                    <a:pt x="1789" y="10342"/>
                  </a:lnTo>
                  <a:lnTo>
                    <a:pt x="1768" y="10393"/>
                  </a:lnTo>
                  <a:lnTo>
                    <a:pt x="1858" y="10370"/>
                  </a:lnTo>
                  <a:lnTo>
                    <a:pt x="1934" y="10401"/>
                  </a:lnTo>
                  <a:close/>
                </a:path>
              </a:pathLst>
            </a:custGeom>
            <a:solidFill>
              <a:schemeClr val="accent1"/>
            </a:solidFill>
            <a:ln w="6350">
              <a:solidFill>
                <a:srgbClr val="FFFFFF"/>
              </a:solidFill>
            </a:ln>
          </p:spPr>
          <p:txBody>
            <a:bodyPr vert="eaVert" wrap="none" anchor="ctr"/>
            <a:lstStyle/>
            <a:p>
              <a:pPr marL="0" marR="0" lvl="0" indent="0" algn="l" defTabSz="8585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 name="Denmark">
              <a:extLst>
                <a:ext uri="{FF2B5EF4-FFF2-40B4-BE49-F238E27FC236}">
                  <a16:creationId xmlns:a16="http://schemas.microsoft.com/office/drawing/2014/main" id="{7EAF9890-BC9C-8557-6F7C-A2098012A874}"/>
                </a:ext>
              </a:extLst>
            </p:cNvPr>
            <p:cNvSpPr>
              <a:spLocks/>
            </p:cNvSpPr>
            <p:nvPr/>
          </p:nvSpPr>
          <p:spPr bwMode="gray">
            <a:xfrm>
              <a:off x="4060627" y="5388930"/>
              <a:ext cx="1039343" cy="952855"/>
            </a:xfrm>
            <a:custGeom>
              <a:avLst/>
              <a:gdLst/>
              <a:ahLst/>
              <a:cxnLst>
                <a:cxn ang="0">
                  <a:pos x="3981" y="2858"/>
                </a:cxn>
                <a:cxn ang="0">
                  <a:pos x="3308" y="3606"/>
                </a:cxn>
                <a:cxn ang="0">
                  <a:pos x="3170" y="3726"/>
                </a:cxn>
                <a:cxn ang="0">
                  <a:pos x="3018" y="3446"/>
                </a:cxn>
                <a:cxn ang="0">
                  <a:pos x="3084" y="3347"/>
                </a:cxn>
                <a:cxn ang="0">
                  <a:pos x="3333" y="3412"/>
                </a:cxn>
                <a:cxn ang="0">
                  <a:pos x="739" y="2967"/>
                </a:cxn>
                <a:cxn ang="0">
                  <a:pos x="895" y="2971"/>
                </a:cxn>
                <a:cxn ang="0">
                  <a:pos x="753" y="2764"/>
                </a:cxn>
                <a:cxn ang="0">
                  <a:pos x="853" y="2475"/>
                </a:cxn>
                <a:cxn ang="0">
                  <a:pos x="904" y="2089"/>
                </a:cxn>
                <a:cxn ang="0">
                  <a:pos x="1136" y="1899"/>
                </a:cxn>
                <a:cxn ang="0">
                  <a:pos x="1433" y="1569"/>
                </a:cxn>
                <a:cxn ang="0">
                  <a:pos x="1713" y="1520"/>
                </a:cxn>
                <a:cxn ang="0">
                  <a:pos x="1475" y="1331"/>
                </a:cxn>
                <a:cxn ang="0">
                  <a:pos x="1299" y="1206"/>
                </a:cxn>
                <a:cxn ang="0">
                  <a:pos x="1350" y="1055"/>
                </a:cxn>
                <a:cxn ang="0">
                  <a:pos x="1554" y="493"/>
                </a:cxn>
                <a:cxn ang="0">
                  <a:pos x="1560" y="0"/>
                </a:cxn>
                <a:cxn ang="0">
                  <a:pos x="902" y="517"/>
                </a:cxn>
                <a:cxn ang="0">
                  <a:pos x="132" y="1159"/>
                </a:cxn>
                <a:cxn ang="0">
                  <a:pos x="45" y="2013"/>
                </a:cxn>
                <a:cxn ang="0">
                  <a:pos x="266" y="2338"/>
                </a:cxn>
                <a:cxn ang="0">
                  <a:pos x="2158" y="1886"/>
                </a:cxn>
                <a:cxn ang="0">
                  <a:pos x="2238" y="2062"/>
                </a:cxn>
                <a:cxn ang="0">
                  <a:pos x="2331" y="2155"/>
                </a:cxn>
                <a:cxn ang="0">
                  <a:pos x="2379" y="1955"/>
                </a:cxn>
                <a:cxn ang="0">
                  <a:pos x="2400" y="2175"/>
                </a:cxn>
                <a:cxn ang="0">
                  <a:pos x="2448" y="1913"/>
                </a:cxn>
                <a:cxn ang="0">
                  <a:pos x="2586" y="1723"/>
                </a:cxn>
                <a:cxn ang="0">
                  <a:pos x="2776" y="1997"/>
                </a:cxn>
                <a:cxn ang="0">
                  <a:pos x="2758" y="2227"/>
                </a:cxn>
                <a:cxn ang="0">
                  <a:pos x="2562" y="2472"/>
                </a:cxn>
                <a:cxn ang="0">
                  <a:pos x="2486" y="2733"/>
                </a:cxn>
                <a:cxn ang="0">
                  <a:pos x="2490" y="2860"/>
                </a:cxn>
                <a:cxn ang="0">
                  <a:pos x="2178" y="2844"/>
                </a:cxn>
                <a:cxn ang="0">
                  <a:pos x="2251" y="2737"/>
                </a:cxn>
                <a:cxn ang="0">
                  <a:pos x="1868" y="2537"/>
                </a:cxn>
                <a:cxn ang="0">
                  <a:pos x="1888" y="2234"/>
                </a:cxn>
                <a:cxn ang="0">
                  <a:pos x="1768" y="2127"/>
                </a:cxn>
                <a:cxn ang="0">
                  <a:pos x="2113" y="2017"/>
                </a:cxn>
                <a:cxn ang="0">
                  <a:pos x="1689" y="2755"/>
                </a:cxn>
                <a:cxn ang="0">
                  <a:pos x="1665" y="3058"/>
                </a:cxn>
                <a:cxn ang="0">
                  <a:pos x="1540" y="3033"/>
                </a:cxn>
                <a:cxn ang="0">
                  <a:pos x="1198" y="2296"/>
                </a:cxn>
                <a:cxn ang="0">
                  <a:pos x="1516" y="2247"/>
                </a:cxn>
                <a:cxn ang="0">
                  <a:pos x="1647" y="2568"/>
                </a:cxn>
                <a:cxn ang="0">
                  <a:pos x="1631" y="2806"/>
                </a:cxn>
                <a:cxn ang="0">
                  <a:pos x="1212" y="2799"/>
                </a:cxn>
                <a:cxn ang="0">
                  <a:pos x="1087" y="2557"/>
                </a:cxn>
                <a:cxn ang="0">
                  <a:pos x="1036" y="2378"/>
                </a:cxn>
                <a:cxn ang="0">
                  <a:pos x="1198" y="2296"/>
                </a:cxn>
                <a:cxn ang="0">
                  <a:pos x="2048" y="3074"/>
                </a:cxn>
                <a:cxn ang="0">
                  <a:pos x="2169" y="3036"/>
                </a:cxn>
                <a:cxn ang="0">
                  <a:pos x="2096" y="3265"/>
                </a:cxn>
                <a:cxn ang="0">
                  <a:pos x="1761" y="3099"/>
                </a:cxn>
                <a:cxn ang="0">
                  <a:pos x="1827" y="2964"/>
                </a:cxn>
                <a:cxn ang="0">
                  <a:pos x="2341" y="2985"/>
                </a:cxn>
                <a:cxn ang="0">
                  <a:pos x="2379" y="3227"/>
                </a:cxn>
                <a:cxn ang="0">
                  <a:pos x="2279" y="3089"/>
                </a:cxn>
              </a:cxnLst>
              <a:rect l="0" t="0" r="r" b="b"/>
              <a:pathLst>
                <a:path w="4230" h="3726">
                  <a:moveTo>
                    <a:pt x="4230" y="2951"/>
                  </a:moveTo>
                  <a:lnTo>
                    <a:pt x="4195" y="2782"/>
                  </a:lnTo>
                  <a:lnTo>
                    <a:pt x="4099" y="2699"/>
                  </a:lnTo>
                  <a:lnTo>
                    <a:pt x="4016" y="2668"/>
                  </a:lnTo>
                  <a:lnTo>
                    <a:pt x="3981" y="2858"/>
                  </a:lnTo>
                  <a:lnTo>
                    <a:pt x="4036" y="2916"/>
                  </a:lnTo>
                  <a:lnTo>
                    <a:pt x="4112" y="2944"/>
                  </a:lnTo>
                  <a:lnTo>
                    <a:pt x="4230" y="2951"/>
                  </a:lnTo>
                  <a:close/>
                  <a:moveTo>
                    <a:pt x="3302" y="3533"/>
                  </a:moveTo>
                  <a:lnTo>
                    <a:pt x="3308" y="3606"/>
                  </a:lnTo>
                  <a:lnTo>
                    <a:pt x="3342" y="3667"/>
                  </a:lnTo>
                  <a:lnTo>
                    <a:pt x="3333" y="3716"/>
                  </a:lnTo>
                  <a:lnTo>
                    <a:pt x="3277" y="3675"/>
                  </a:lnTo>
                  <a:lnTo>
                    <a:pt x="3208" y="3691"/>
                  </a:lnTo>
                  <a:lnTo>
                    <a:pt x="3170" y="3726"/>
                  </a:lnTo>
                  <a:lnTo>
                    <a:pt x="3073" y="3702"/>
                  </a:lnTo>
                  <a:lnTo>
                    <a:pt x="3008" y="3640"/>
                  </a:lnTo>
                  <a:lnTo>
                    <a:pt x="3035" y="3595"/>
                  </a:lnTo>
                  <a:lnTo>
                    <a:pt x="3043" y="3537"/>
                  </a:lnTo>
                  <a:lnTo>
                    <a:pt x="3018" y="3446"/>
                  </a:lnTo>
                  <a:lnTo>
                    <a:pt x="3066" y="3433"/>
                  </a:lnTo>
                  <a:lnTo>
                    <a:pt x="3211" y="3506"/>
                  </a:lnTo>
                  <a:lnTo>
                    <a:pt x="3191" y="3450"/>
                  </a:lnTo>
                  <a:lnTo>
                    <a:pt x="3125" y="3402"/>
                  </a:lnTo>
                  <a:lnTo>
                    <a:pt x="3084" y="3347"/>
                  </a:lnTo>
                  <a:lnTo>
                    <a:pt x="3115" y="3306"/>
                  </a:lnTo>
                  <a:lnTo>
                    <a:pt x="3173" y="3323"/>
                  </a:lnTo>
                  <a:lnTo>
                    <a:pt x="3188" y="3375"/>
                  </a:lnTo>
                  <a:lnTo>
                    <a:pt x="3277" y="3385"/>
                  </a:lnTo>
                  <a:lnTo>
                    <a:pt x="3333" y="3412"/>
                  </a:lnTo>
                  <a:lnTo>
                    <a:pt x="3302" y="3533"/>
                  </a:lnTo>
                  <a:close/>
                  <a:moveTo>
                    <a:pt x="286" y="2920"/>
                  </a:moveTo>
                  <a:lnTo>
                    <a:pt x="380" y="2920"/>
                  </a:lnTo>
                  <a:lnTo>
                    <a:pt x="639" y="3009"/>
                  </a:lnTo>
                  <a:lnTo>
                    <a:pt x="739" y="2967"/>
                  </a:lnTo>
                  <a:lnTo>
                    <a:pt x="781" y="2958"/>
                  </a:lnTo>
                  <a:lnTo>
                    <a:pt x="795" y="2937"/>
                  </a:lnTo>
                  <a:lnTo>
                    <a:pt x="822" y="2933"/>
                  </a:lnTo>
                  <a:lnTo>
                    <a:pt x="843" y="2962"/>
                  </a:lnTo>
                  <a:lnTo>
                    <a:pt x="895" y="2971"/>
                  </a:lnTo>
                  <a:lnTo>
                    <a:pt x="902" y="2923"/>
                  </a:lnTo>
                  <a:lnTo>
                    <a:pt x="877" y="2875"/>
                  </a:lnTo>
                  <a:lnTo>
                    <a:pt x="832" y="2830"/>
                  </a:lnTo>
                  <a:lnTo>
                    <a:pt x="757" y="2826"/>
                  </a:lnTo>
                  <a:lnTo>
                    <a:pt x="753" y="2764"/>
                  </a:lnTo>
                  <a:lnTo>
                    <a:pt x="759" y="2675"/>
                  </a:lnTo>
                  <a:lnTo>
                    <a:pt x="877" y="2610"/>
                  </a:lnTo>
                  <a:lnTo>
                    <a:pt x="881" y="2568"/>
                  </a:lnTo>
                  <a:lnTo>
                    <a:pt x="853" y="2568"/>
                  </a:lnTo>
                  <a:lnTo>
                    <a:pt x="853" y="2475"/>
                  </a:lnTo>
                  <a:lnTo>
                    <a:pt x="888" y="2354"/>
                  </a:lnTo>
                  <a:lnTo>
                    <a:pt x="867" y="2313"/>
                  </a:lnTo>
                  <a:lnTo>
                    <a:pt x="977" y="2209"/>
                  </a:lnTo>
                  <a:lnTo>
                    <a:pt x="974" y="2169"/>
                  </a:lnTo>
                  <a:lnTo>
                    <a:pt x="904" y="2089"/>
                  </a:lnTo>
                  <a:lnTo>
                    <a:pt x="974" y="2068"/>
                  </a:lnTo>
                  <a:lnTo>
                    <a:pt x="1116" y="2100"/>
                  </a:lnTo>
                  <a:lnTo>
                    <a:pt x="1133" y="2024"/>
                  </a:lnTo>
                  <a:lnTo>
                    <a:pt x="1085" y="1937"/>
                  </a:lnTo>
                  <a:lnTo>
                    <a:pt x="1136" y="1899"/>
                  </a:lnTo>
                  <a:lnTo>
                    <a:pt x="1274" y="1920"/>
                  </a:lnTo>
                  <a:lnTo>
                    <a:pt x="1333" y="1852"/>
                  </a:lnTo>
                  <a:lnTo>
                    <a:pt x="1316" y="1714"/>
                  </a:lnTo>
                  <a:lnTo>
                    <a:pt x="1371" y="1585"/>
                  </a:lnTo>
                  <a:lnTo>
                    <a:pt x="1433" y="1569"/>
                  </a:lnTo>
                  <a:lnTo>
                    <a:pt x="1430" y="1620"/>
                  </a:lnTo>
                  <a:lnTo>
                    <a:pt x="1464" y="1696"/>
                  </a:lnTo>
                  <a:lnTo>
                    <a:pt x="1537" y="1614"/>
                  </a:lnTo>
                  <a:lnTo>
                    <a:pt x="1547" y="1652"/>
                  </a:lnTo>
                  <a:lnTo>
                    <a:pt x="1713" y="1520"/>
                  </a:lnTo>
                  <a:lnTo>
                    <a:pt x="1730" y="1400"/>
                  </a:lnTo>
                  <a:lnTo>
                    <a:pt x="1716" y="1324"/>
                  </a:lnTo>
                  <a:lnTo>
                    <a:pt x="1665" y="1293"/>
                  </a:lnTo>
                  <a:lnTo>
                    <a:pt x="1558" y="1300"/>
                  </a:lnTo>
                  <a:lnTo>
                    <a:pt x="1475" y="1331"/>
                  </a:lnTo>
                  <a:lnTo>
                    <a:pt x="1433" y="1262"/>
                  </a:lnTo>
                  <a:lnTo>
                    <a:pt x="1361" y="1259"/>
                  </a:lnTo>
                  <a:lnTo>
                    <a:pt x="1312" y="1327"/>
                  </a:lnTo>
                  <a:lnTo>
                    <a:pt x="1288" y="1273"/>
                  </a:lnTo>
                  <a:lnTo>
                    <a:pt x="1299" y="1206"/>
                  </a:lnTo>
                  <a:lnTo>
                    <a:pt x="1377" y="1135"/>
                  </a:lnTo>
                  <a:lnTo>
                    <a:pt x="1361" y="1110"/>
                  </a:lnTo>
                  <a:lnTo>
                    <a:pt x="1261" y="1135"/>
                  </a:lnTo>
                  <a:lnTo>
                    <a:pt x="1264" y="1083"/>
                  </a:lnTo>
                  <a:lnTo>
                    <a:pt x="1350" y="1055"/>
                  </a:lnTo>
                  <a:lnTo>
                    <a:pt x="1361" y="969"/>
                  </a:lnTo>
                  <a:lnTo>
                    <a:pt x="1377" y="956"/>
                  </a:lnTo>
                  <a:lnTo>
                    <a:pt x="1381" y="827"/>
                  </a:lnTo>
                  <a:lnTo>
                    <a:pt x="1430" y="683"/>
                  </a:lnTo>
                  <a:lnTo>
                    <a:pt x="1554" y="493"/>
                  </a:lnTo>
                  <a:lnTo>
                    <a:pt x="1560" y="408"/>
                  </a:lnTo>
                  <a:lnTo>
                    <a:pt x="1516" y="194"/>
                  </a:lnTo>
                  <a:lnTo>
                    <a:pt x="1540" y="94"/>
                  </a:lnTo>
                  <a:lnTo>
                    <a:pt x="1578" y="25"/>
                  </a:lnTo>
                  <a:lnTo>
                    <a:pt x="1560" y="0"/>
                  </a:lnTo>
                  <a:lnTo>
                    <a:pt x="1488" y="56"/>
                  </a:lnTo>
                  <a:lnTo>
                    <a:pt x="1250" y="152"/>
                  </a:lnTo>
                  <a:lnTo>
                    <a:pt x="1067" y="328"/>
                  </a:lnTo>
                  <a:lnTo>
                    <a:pt x="1026" y="435"/>
                  </a:lnTo>
                  <a:lnTo>
                    <a:pt x="902" y="517"/>
                  </a:lnTo>
                  <a:lnTo>
                    <a:pt x="438" y="569"/>
                  </a:lnTo>
                  <a:lnTo>
                    <a:pt x="335" y="662"/>
                  </a:lnTo>
                  <a:lnTo>
                    <a:pt x="270" y="765"/>
                  </a:lnTo>
                  <a:lnTo>
                    <a:pt x="159" y="1028"/>
                  </a:lnTo>
                  <a:lnTo>
                    <a:pt x="132" y="1159"/>
                  </a:lnTo>
                  <a:lnTo>
                    <a:pt x="59" y="1307"/>
                  </a:lnTo>
                  <a:lnTo>
                    <a:pt x="34" y="1442"/>
                  </a:lnTo>
                  <a:lnTo>
                    <a:pt x="32" y="1748"/>
                  </a:lnTo>
                  <a:lnTo>
                    <a:pt x="59" y="1861"/>
                  </a:lnTo>
                  <a:lnTo>
                    <a:pt x="45" y="2013"/>
                  </a:lnTo>
                  <a:lnTo>
                    <a:pt x="0" y="2196"/>
                  </a:lnTo>
                  <a:lnTo>
                    <a:pt x="56" y="2200"/>
                  </a:lnTo>
                  <a:lnTo>
                    <a:pt x="97" y="2175"/>
                  </a:lnTo>
                  <a:lnTo>
                    <a:pt x="197" y="2251"/>
                  </a:lnTo>
                  <a:lnTo>
                    <a:pt x="266" y="2338"/>
                  </a:lnTo>
                  <a:lnTo>
                    <a:pt x="308" y="2447"/>
                  </a:lnTo>
                  <a:lnTo>
                    <a:pt x="273" y="2809"/>
                  </a:lnTo>
                  <a:lnTo>
                    <a:pt x="286" y="2920"/>
                  </a:lnTo>
                  <a:close/>
                  <a:moveTo>
                    <a:pt x="2062" y="1861"/>
                  </a:moveTo>
                  <a:lnTo>
                    <a:pt x="2158" y="1886"/>
                  </a:lnTo>
                  <a:lnTo>
                    <a:pt x="2314" y="1890"/>
                  </a:lnTo>
                  <a:lnTo>
                    <a:pt x="2310" y="1937"/>
                  </a:lnTo>
                  <a:lnTo>
                    <a:pt x="2272" y="1955"/>
                  </a:lnTo>
                  <a:lnTo>
                    <a:pt x="2265" y="2044"/>
                  </a:lnTo>
                  <a:lnTo>
                    <a:pt x="2238" y="2062"/>
                  </a:lnTo>
                  <a:lnTo>
                    <a:pt x="2245" y="2079"/>
                  </a:lnTo>
                  <a:lnTo>
                    <a:pt x="2272" y="2062"/>
                  </a:lnTo>
                  <a:lnTo>
                    <a:pt x="2276" y="2151"/>
                  </a:lnTo>
                  <a:lnTo>
                    <a:pt x="2283" y="2206"/>
                  </a:lnTo>
                  <a:lnTo>
                    <a:pt x="2331" y="2155"/>
                  </a:lnTo>
                  <a:lnTo>
                    <a:pt x="2356" y="2058"/>
                  </a:lnTo>
                  <a:lnTo>
                    <a:pt x="2372" y="2051"/>
                  </a:lnTo>
                  <a:lnTo>
                    <a:pt x="2379" y="1979"/>
                  </a:lnTo>
                  <a:lnTo>
                    <a:pt x="2369" y="1979"/>
                  </a:lnTo>
                  <a:lnTo>
                    <a:pt x="2379" y="1955"/>
                  </a:lnTo>
                  <a:lnTo>
                    <a:pt x="2400" y="1955"/>
                  </a:lnTo>
                  <a:lnTo>
                    <a:pt x="2445" y="2082"/>
                  </a:lnTo>
                  <a:lnTo>
                    <a:pt x="2441" y="2144"/>
                  </a:lnTo>
                  <a:lnTo>
                    <a:pt x="2421" y="2144"/>
                  </a:lnTo>
                  <a:lnTo>
                    <a:pt x="2400" y="2175"/>
                  </a:lnTo>
                  <a:lnTo>
                    <a:pt x="2417" y="2178"/>
                  </a:lnTo>
                  <a:lnTo>
                    <a:pt x="2417" y="2203"/>
                  </a:lnTo>
                  <a:lnTo>
                    <a:pt x="2452" y="2209"/>
                  </a:lnTo>
                  <a:lnTo>
                    <a:pt x="2472" y="1951"/>
                  </a:lnTo>
                  <a:lnTo>
                    <a:pt x="2448" y="1913"/>
                  </a:lnTo>
                  <a:lnTo>
                    <a:pt x="2394" y="1899"/>
                  </a:lnTo>
                  <a:lnTo>
                    <a:pt x="2390" y="1859"/>
                  </a:lnTo>
                  <a:lnTo>
                    <a:pt x="2466" y="1772"/>
                  </a:lnTo>
                  <a:lnTo>
                    <a:pt x="2575" y="1745"/>
                  </a:lnTo>
                  <a:lnTo>
                    <a:pt x="2586" y="1723"/>
                  </a:lnTo>
                  <a:lnTo>
                    <a:pt x="2659" y="1721"/>
                  </a:lnTo>
                  <a:lnTo>
                    <a:pt x="2714" y="1792"/>
                  </a:lnTo>
                  <a:lnTo>
                    <a:pt x="2762" y="1937"/>
                  </a:lnTo>
                  <a:lnTo>
                    <a:pt x="2791" y="1944"/>
                  </a:lnTo>
                  <a:lnTo>
                    <a:pt x="2776" y="1997"/>
                  </a:lnTo>
                  <a:lnTo>
                    <a:pt x="2791" y="2051"/>
                  </a:lnTo>
                  <a:lnTo>
                    <a:pt x="2807" y="2062"/>
                  </a:lnTo>
                  <a:lnTo>
                    <a:pt x="2804" y="2120"/>
                  </a:lnTo>
                  <a:lnTo>
                    <a:pt x="2842" y="2231"/>
                  </a:lnTo>
                  <a:lnTo>
                    <a:pt x="2758" y="2227"/>
                  </a:lnTo>
                  <a:lnTo>
                    <a:pt x="2720" y="2269"/>
                  </a:lnTo>
                  <a:lnTo>
                    <a:pt x="2666" y="2265"/>
                  </a:lnTo>
                  <a:lnTo>
                    <a:pt x="2607" y="2334"/>
                  </a:lnTo>
                  <a:lnTo>
                    <a:pt x="2575" y="2392"/>
                  </a:lnTo>
                  <a:lnTo>
                    <a:pt x="2562" y="2472"/>
                  </a:lnTo>
                  <a:lnTo>
                    <a:pt x="2635" y="2479"/>
                  </a:lnTo>
                  <a:lnTo>
                    <a:pt x="2680" y="2561"/>
                  </a:lnTo>
                  <a:lnTo>
                    <a:pt x="2676" y="2668"/>
                  </a:lnTo>
                  <a:lnTo>
                    <a:pt x="2506" y="2702"/>
                  </a:lnTo>
                  <a:lnTo>
                    <a:pt x="2486" y="2733"/>
                  </a:lnTo>
                  <a:lnTo>
                    <a:pt x="2486" y="2778"/>
                  </a:lnTo>
                  <a:lnTo>
                    <a:pt x="2503" y="2778"/>
                  </a:lnTo>
                  <a:lnTo>
                    <a:pt x="2517" y="2833"/>
                  </a:lnTo>
                  <a:lnTo>
                    <a:pt x="2501" y="2833"/>
                  </a:lnTo>
                  <a:lnTo>
                    <a:pt x="2490" y="2860"/>
                  </a:lnTo>
                  <a:lnTo>
                    <a:pt x="2483" y="2933"/>
                  </a:lnTo>
                  <a:lnTo>
                    <a:pt x="2421" y="2947"/>
                  </a:lnTo>
                  <a:lnTo>
                    <a:pt x="2386" y="2909"/>
                  </a:lnTo>
                  <a:lnTo>
                    <a:pt x="2224" y="2871"/>
                  </a:lnTo>
                  <a:lnTo>
                    <a:pt x="2178" y="2844"/>
                  </a:lnTo>
                  <a:lnTo>
                    <a:pt x="2182" y="2824"/>
                  </a:lnTo>
                  <a:lnTo>
                    <a:pt x="2234" y="2844"/>
                  </a:lnTo>
                  <a:lnTo>
                    <a:pt x="2231" y="2775"/>
                  </a:lnTo>
                  <a:lnTo>
                    <a:pt x="2247" y="2775"/>
                  </a:lnTo>
                  <a:lnTo>
                    <a:pt x="2251" y="2737"/>
                  </a:lnTo>
                  <a:lnTo>
                    <a:pt x="2100" y="2692"/>
                  </a:lnTo>
                  <a:lnTo>
                    <a:pt x="1955" y="2692"/>
                  </a:lnTo>
                  <a:lnTo>
                    <a:pt x="1951" y="2603"/>
                  </a:lnTo>
                  <a:lnTo>
                    <a:pt x="1882" y="2572"/>
                  </a:lnTo>
                  <a:lnTo>
                    <a:pt x="1868" y="2537"/>
                  </a:lnTo>
                  <a:lnTo>
                    <a:pt x="1868" y="2516"/>
                  </a:lnTo>
                  <a:lnTo>
                    <a:pt x="1885" y="2510"/>
                  </a:lnTo>
                  <a:lnTo>
                    <a:pt x="1899" y="2458"/>
                  </a:lnTo>
                  <a:lnTo>
                    <a:pt x="1913" y="2272"/>
                  </a:lnTo>
                  <a:lnTo>
                    <a:pt x="1888" y="2234"/>
                  </a:lnTo>
                  <a:lnTo>
                    <a:pt x="1806" y="2220"/>
                  </a:lnTo>
                  <a:lnTo>
                    <a:pt x="1792" y="2193"/>
                  </a:lnTo>
                  <a:lnTo>
                    <a:pt x="1830" y="2169"/>
                  </a:lnTo>
                  <a:lnTo>
                    <a:pt x="1768" y="2144"/>
                  </a:lnTo>
                  <a:lnTo>
                    <a:pt x="1768" y="2127"/>
                  </a:lnTo>
                  <a:lnTo>
                    <a:pt x="1810" y="2102"/>
                  </a:lnTo>
                  <a:lnTo>
                    <a:pt x="1961" y="2113"/>
                  </a:lnTo>
                  <a:lnTo>
                    <a:pt x="2027" y="2100"/>
                  </a:lnTo>
                  <a:lnTo>
                    <a:pt x="2051" y="2013"/>
                  </a:lnTo>
                  <a:lnTo>
                    <a:pt x="2113" y="2017"/>
                  </a:lnTo>
                  <a:lnTo>
                    <a:pt x="2140" y="1993"/>
                  </a:lnTo>
                  <a:lnTo>
                    <a:pt x="2155" y="1937"/>
                  </a:lnTo>
                  <a:lnTo>
                    <a:pt x="2062" y="1861"/>
                  </a:lnTo>
                  <a:close/>
                  <a:moveTo>
                    <a:pt x="1682" y="2837"/>
                  </a:moveTo>
                  <a:lnTo>
                    <a:pt x="1689" y="2755"/>
                  </a:lnTo>
                  <a:lnTo>
                    <a:pt x="1705" y="2723"/>
                  </a:lnTo>
                  <a:lnTo>
                    <a:pt x="1743" y="2723"/>
                  </a:lnTo>
                  <a:lnTo>
                    <a:pt x="1740" y="2885"/>
                  </a:lnTo>
                  <a:lnTo>
                    <a:pt x="1674" y="2985"/>
                  </a:lnTo>
                  <a:lnTo>
                    <a:pt x="1665" y="3058"/>
                  </a:lnTo>
                  <a:lnTo>
                    <a:pt x="1636" y="3092"/>
                  </a:lnTo>
                  <a:lnTo>
                    <a:pt x="1606" y="3178"/>
                  </a:lnTo>
                  <a:lnTo>
                    <a:pt x="1575" y="3196"/>
                  </a:lnTo>
                  <a:lnTo>
                    <a:pt x="1571" y="3105"/>
                  </a:lnTo>
                  <a:lnTo>
                    <a:pt x="1540" y="3033"/>
                  </a:lnTo>
                  <a:lnTo>
                    <a:pt x="1560" y="3023"/>
                  </a:lnTo>
                  <a:lnTo>
                    <a:pt x="1595" y="2920"/>
                  </a:lnTo>
                  <a:lnTo>
                    <a:pt x="1636" y="2851"/>
                  </a:lnTo>
                  <a:lnTo>
                    <a:pt x="1682" y="2837"/>
                  </a:lnTo>
                  <a:close/>
                  <a:moveTo>
                    <a:pt x="1198" y="2296"/>
                  </a:moveTo>
                  <a:lnTo>
                    <a:pt x="1254" y="2265"/>
                  </a:lnTo>
                  <a:lnTo>
                    <a:pt x="1399" y="2258"/>
                  </a:lnTo>
                  <a:lnTo>
                    <a:pt x="1482" y="2323"/>
                  </a:lnTo>
                  <a:lnTo>
                    <a:pt x="1513" y="2320"/>
                  </a:lnTo>
                  <a:lnTo>
                    <a:pt x="1516" y="2247"/>
                  </a:lnTo>
                  <a:lnTo>
                    <a:pt x="1544" y="2224"/>
                  </a:lnTo>
                  <a:lnTo>
                    <a:pt x="1623" y="2378"/>
                  </a:lnTo>
                  <a:lnTo>
                    <a:pt x="1609" y="2465"/>
                  </a:lnTo>
                  <a:lnTo>
                    <a:pt x="1631" y="2537"/>
                  </a:lnTo>
                  <a:lnTo>
                    <a:pt x="1647" y="2568"/>
                  </a:lnTo>
                  <a:lnTo>
                    <a:pt x="1699" y="2585"/>
                  </a:lnTo>
                  <a:lnTo>
                    <a:pt x="1699" y="2606"/>
                  </a:lnTo>
                  <a:lnTo>
                    <a:pt x="1665" y="2603"/>
                  </a:lnTo>
                  <a:lnTo>
                    <a:pt x="1654" y="2692"/>
                  </a:lnTo>
                  <a:lnTo>
                    <a:pt x="1631" y="2806"/>
                  </a:lnTo>
                  <a:lnTo>
                    <a:pt x="1540" y="2820"/>
                  </a:lnTo>
                  <a:lnTo>
                    <a:pt x="1471" y="2851"/>
                  </a:lnTo>
                  <a:lnTo>
                    <a:pt x="1409" y="2837"/>
                  </a:lnTo>
                  <a:lnTo>
                    <a:pt x="1323" y="2775"/>
                  </a:lnTo>
                  <a:lnTo>
                    <a:pt x="1212" y="2799"/>
                  </a:lnTo>
                  <a:lnTo>
                    <a:pt x="1216" y="2755"/>
                  </a:lnTo>
                  <a:lnTo>
                    <a:pt x="1257" y="2702"/>
                  </a:lnTo>
                  <a:lnTo>
                    <a:pt x="1212" y="2699"/>
                  </a:lnTo>
                  <a:lnTo>
                    <a:pt x="1087" y="2641"/>
                  </a:lnTo>
                  <a:lnTo>
                    <a:pt x="1087" y="2557"/>
                  </a:lnTo>
                  <a:lnTo>
                    <a:pt x="1036" y="2503"/>
                  </a:lnTo>
                  <a:lnTo>
                    <a:pt x="1056" y="2451"/>
                  </a:lnTo>
                  <a:lnTo>
                    <a:pt x="1015" y="2403"/>
                  </a:lnTo>
                  <a:lnTo>
                    <a:pt x="1036" y="2403"/>
                  </a:lnTo>
                  <a:lnTo>
                    <a:pt x="1036" y="2378"/>
                  </a:lnTo>
                  <a:lnTo>
                    <a:pt x="1012" y="2341"/>
                  </a:lnTo>
                  <a:lnTo>
                    <a:pt x="1015" y="2307"/>
                  </a:lnTo>
                  <a:lnTo>
                    <a:pt x="1071" y="2309"/>
                  </a:lnTo>
                  <a:lnTo>
                    <a:pt x="1129" y="2338"/>
                  </a:lnTo>
                  <a:lnTo>
                    <a:pt x="1198" y="2296"/>
                  </a:lnTo>
                  <a:close/>
                  <a:moveTo>
                    <a:pt x="1926" y="2951"/>
                  </a:moveTo>
                  <a:lnTo>
                    <a:pt x="1944" y="2962"/>
                  </a:lnTo>
                  <a:lnTo>
                    <a:pt x="1961" y="3013"/>
                  </a:lnTo>
                  <a:lnTo>
                    <a:pt x="2003" y="3027"/>
                  </a:lnTo>
                  <a:lnTo>
                    <a:pt x="2048" y="3074"/>
                  </a:lnTo>
                  <a:lnTo>
                    <a:pt x="2082" y="3085"/>
                  </a:lnTo>
                  <a:lnTo>
                    <a:pt x="2082" y="3061"/>
                  </a:lnTo>
                  <a:lnTo>
                    <a:pt x="2120" y="3061"/>
                  </a:lnTo>
                  <a:lnTo>
                    <a:pt x="2120" y="3033"/>
                  </a:lnTo>
                  <a:lnTo>
                    <a:pt x="2169" y="3036"/>
                  </a:lnTo>
                  <a:lnTo>
                    <a:pt x="2172" y="3074"/>
                  </a:lnTo>
                  <a:lnTo>
                    <a:pt x="2213" y="3130"/>
                  </a:lnTo>
                  <a:lnTo>
                    <a:pt x="2251" y="3274"/>
                  </a:lnTo>
                  <a:lnTo>
                    <a:pt x="2203" y="3288"/>
                  </a:lnTo>
                  <a:lnTo>
                    <a:pt x="2096" y="3265"/>
                  </a:lnTo>
                  <a:lnTo>
                    <a:pt x="2066" y="3299"/>
                  </a:lnTo>
                  <a:lnTo>
                    <a:pt x="2010" y="3312"/>
                  </a:lnTo>
                  <a:lnTo>
                    <a:pt x="1899" y="3209"/>
                  </a:lnTo>
                  <a:lnTo>
                    <a:pt x="1785" y="3154"/>
                  </a:lnTo>
                  <a:lnTo>
                    <a:pt x="1761" y="3099"/>
                  </a:lnTo>
                  <a:lnTo>
                    <a:pt x="1799" y="3105"/>
                  </a:lnTo>
                  <a:lnTo>
                    <a:pt x="1837" y="3051"/>
                  </a:lnTo>
                  <a:lnTo>
                    <a:pt x="1803" y="3051"/>
                  </a:lnTo>
                  <a:lnTo>
                    <a:pt x="1778" y="2996"/>
                  </a:lnTo>
                  <a:lnTo>
                    <a:pt x="1827" y="2964"/>
                  </a:lnTo>
                  <a:lnTo>
                    <a:pt x="1910" y="2967"/>
                  </a:lnTo>
                  <a:lnTo>
                    <a:pt x="1926" y="2951"/>
                  </a:lnTo>
                  <a:close/>
                  <a:moveTo>
                    <a:pt x="2272" y="2971"/>
                  </a:moveTo>
                  <a:lnTo>
                    <a:pt x="2300" y="2964"/>
                  </a:lnTo>
                  <a:lnTo>
                    <a:pt x="2341" y="2985"/>
                  </a:lnTo>
                  <a:lnTo>
                    <a:pt x="2358" y="3030"/>
                  </a:lnTo>
                  <a:lnTo>
                    <a:pt x="2452" y="3082"/>
                  </a:lnTo>
                  <a:lnTo>
                    <a:pt x="2459" y="3143"/>
                  </a:lnTo>
                  <a:lnTo>
                    <a:pt x="2390" y="3196"/>
                  </a:lnTo>
                  <a:lnTo>
                    <a:pt x="2379" y="3227"/>
                  </a:lnTo>
                  <a:lnTo>
                    <a:pt x="2361" y="3377"/>
                  </a:lnTo>
                  <a:lnTo>
                    <a:pt x="2317" y="3341"/>
                  </a:lnTo>
                  <a:lnTo>
                    <a:pt x="2327" y="3192"/>
                  </a:lnTo>
                  <a:lnTo>
                    <a:pt x="2296" y="3161"/>
                  </a:lnTo>
                  <a:lnTo>
                    <a:pt x="2279" y="3089"/>
                  </a:lnTo>
                  <a:lnTo>
                    <a:pt x="2255" y="3071"/>
                  </a:lnTo>
                  <a:lnTo>
                    <a:pt x="2224" y="2989"/>
                  </a:lnTo>
                  <a:lnTo>
                    <a:pt x="2227" y="2971"/>
                  </a:lnTo>
                  <a:lnTo>
                    <a:pt x="2272" y="2971"/>
                  </a:lnTo>
                  <a:close/>
                </a:path>
              </a:pathLst>
            </a:custGeom>
            <a:solidFill>
              <a:schemeClr val="accent1"/>
            </a:solidFill>
            <a:ln w="6350">
              <a:solidFill>
                <a:srgbClr val="FFFFFF"/>
              </a:solidFill>
            </a:ln>
          </p:spPr>
          <p:txBody>
            <a:bodyPr vert="eaVert" wrap="none" anchor="ctr"/>
            <a:lstStyle/>
            <a:p>
              <a:pPr marL="0" marR="0" lvl="0" indent="0" algn="l" defTabSz="8585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Sweden">
              <a:extLst>
                <a:ext uri="{FF2B5EF4-FFF2-40B4-BE49-F238E27FC236}">
                  <a16:creationId xmlns:a16="http://schemas.microsoft.com/office/drawing/2014/main" id="{96730331-02EC-8C66-9B55-E58B6999BE0E}"/>
                </a:ext>
              </a:extLst>
            </p:cNvPr>
            <p:cNvSpPr>
              <a:spLocks/>
            </p:cNvSpPr>
            <p:nvPr/>
          </p:nvSpPr>
          <p:spPr bwMode="gray">
            <a:xfrm>
              <a:off x="4555006" y="2402053"/>
              <a:ext cx="1533720" cy="3636838"/>
            </a:xfrm>
            <a:custGeom>
              <a:avLst/>
              <a:gdLst/>
              <a:ahLst/>
              <a:cxnLst>
                <a:cxn ang="0">
                  <a:pos x="114" y="11074"/>
                </a:cxn>
                <a:cxn ang="0">
                  <a:pos x="210" y="11166"/>
                </a:cxn>
                <a:cxn ang="0">
                  <a:pos x="362" y="11949"/>
                </a:cxn>
                <a:cxn ang="0">
                  <a:pos x="846" y="12862"/>
                </a:cxn>
                <a:cxn ang="0">
                  <a:pos x="666" y="13248"/>
                </a:cxn>
                <a:cxn ang="0">
                  <a:pos x="839" y="14186"/>
                </a:cxn>
                <a:cxn ang="0">
                  <a:pos x="1691" y="13776"/>
                </a:cxn>
                <a:cxn ang="0">
                  <a:pos x="2468" y="13365"/>
                </a:cxn>
                <a:cxn ang="0">
                  <a:pos x="3007" y="12256"/>
                </a:cxn>
                <a:cxn ang="0">
                  <a:pos x="3021" y="11518"/>
                </a:cxn>
                <a:cxn ang="0">
                  <a:pos x="3162" y="11101"/>
                </a:cxn>
                <a:cxn ang="0">
                  <a:pos x="3108" y="10809"/>
                </a:cxn>
                <a:cxn ang="0">
                  <a:pos x="3539" y="10495"/>
                </a:cxn>
                <a:cxn ang="0">
                  <a:pos x="3971" y="10054"/>
                </a:cxn>
                <a:cxn ang="0">
                  <a:pos x="3432" y="10088"/>
                </a:cxn>
                <a:cxn ang="0">
                  <a:pos x="3063" y="9788"/>
                </a:cxn>
                <a:cxn ang="0">
                  <a:pos x="3597" y="9864"/>
                </a:cxn>
                <a:cxn ang="0">
                  <a:pos x="4268" y="9385"/>
                </a:cxn>
                <a:cxn ang="0">
                  <a:pos x="3763" y="8719"/>
                </a:cxn>
                <a:cxn ang="0">
                  <a:pos x="3190" y="9106"/>
                </a:cxn>
                <a:cxn ang="0">
                  <a:pos x="3228" y="8957"/>
                </a:cxn>
                <a:cxn ang="0">
                  <a:pos x="3287" y="8072"/>
                </a:cxn>
                <a:cxn ang="0">
                  <a:pos x="3376" y="7317"/>
                </a:cxn>
                <a:cxn ang="0">
                  <a:pos x="3549" y="6711"/>
                </a:cxn>
                <a:cxn ang="0">
                  <a:pos x="3681" y="6414"/>
                </a:cxn>
                <a:cxn ang="0">
                  <a:pos x="3902" y="6138"/>
                </a:cxn>
                <a:cxn ang="0">
                  <a:pos x="4264" y="5773"/>
                </a:cxn>
                <a:cxn ang="0">
                  <a:pos x="4741" y="5401"/>
                </a:cxn>
                <a:cxn ang="0">
                  <a:pos x="5182" y="4687"/>
                </a:cxn>
                <a:cxn ang="0">
                  <a:pos x="5109" y="4419"/>
                </a:cxn>
                <a:cxn ang="0">
                  <a:pos x="5158" y="4098"/>
                </a:cxn>
                <a:cxn ang="0">
                  <a:pos x="5317" y="3588"/>
                </a:cxn>
                <a:cxn ang="0">
                  <a:pos x="5393" y="3347"/>
                </a:cxn>
                <a:cxn ang="0">
                  <a:pos x="5538" y="3102"/>
                </a:cxn>
                <a:cxn ang="0">
                  <a:pos x="5828" y="3216"/>
                </a:cxn>
                <a:cxn ang="0">
                  <a:pos x="6059" y="2757"/>
                </a:cxn>
                <a:cxn ang="0">
                  <a:pos x="5832" y="1634"/>
                </a:cxn>
                <a:cxn ang="0">
                  <a:pos x="5410" y="638"/>
                </a:cxn>
                <a:cxn ang="0">
                  <a:pos x="4192" y="31"/>
                </a:cxn>
                <a:cxn ang="0">
                  <a:pos x="4184" y="535"/>
                </a:cxn>
                <a:cxn ang="0">
                  <a:pos x="3473" y="680"/>
                </a:cxn>
                <a:cxn ang="0">
                  <a:pos x="3104" y="1048"/>
                </a:cxn>
                <a:cxn ang="0">
                  <a:pos x="2803" y="1921"/>
                </a:cxn>
                <a:cxn ang="0">
                  <a:pos x="2354" y="2855"/>
                </a:cxn>
                <a:cxn ang="0">
                  <a:pos x="1946" y="3967"/>
                </a:cxn>
                <a:cxn ang="0">
                  <a:pos x="1705" y="5160"/>
                </a:cxn>
                <a:cxn ang="0">
                  <a:pos x="781" y="5935"/>
                </a:cxn>
                <a:cxn ang="0">
                  <a:pos x="718" y="6721"/>
                </a:cxn>
                <a:cxn ang="0">
                  <a:pos x="977" y="8086"/>
                </a:cxn>
                <a:cxn ang="0">
                  <a:pos x="794" y="9233"/>
                </a:cxn>
                <a:cxn ang="0">
                  <a:pos x="168" y="10464"/>
                </a:cxn>
                <a:cxn ang="0">
                  <a:pos x="3148" y="12862"/>
                </a:cxn>
                <a:cxn ang="0">
                  <a:pos x="3124" y="12666"/>
                </a:cxn>
                <a:cxn ang="0">
                  <a:pos x="4329" y="12104"/>
                </a:cxn>
                <a:cxn ang="0">
                  <a:pos x="4353" y="11529"/>
                </a:cxn>
                <a:cxn ang="0">
                  <a:pos x="4032" y="12283"/>
                </a:cxn>
              </a:cxnLst>
              <a:rect l="0" t="0" r="r" b="b"/>
              <a:pathLst>
                <a:path w="6249" h="14226">
                  <a:moveTo>
                    <a:pt x="83" y="10243"/>
                  </a:moveTo>
                  <a:lnTo>
                    <a:pt x="7" y="10364"/>
                  </a:lnTo>
                  <a:lnTo>
                    <a:pt x="0" y="10467"/>
                  </a:lnTo>
                  <a:lnTo>
                    <a:pt x="31" y="10881"/>
                  </a:lnTo>
                  <a:lnTo>
                    <a:pt x="48" y="10936"/>
                  </a:lnTo>
                  <a:lnTo>
                    <a:pt x="96" y="10954"/>
                  </a:lnTo>
                  <a:lnTo>
                    <a:pt x="114" y="10998"/>
                  </a:lnTo>
                  <a:lnTo>
                    <a:pt x="114" y="11074"/>
                  </a:lnTo>
                  <a:lnTo>
                    <a:pt x="100" y="11112"/>
                  </a:lnTo>
                  <a:lnTo>
                    <a:pt x="168" y="11039"/>
                  </a:lnTo>
                  <a:lnTo>
                    <a:pt x="193" y="10967"/>
                  </a:lnTo>
                  <a:lnTo>
                    <a:pt x="231" y="11012"/>
                  </a:lnTo>
                  <a:lnTo>
                    <a:pt x="197" y="11108"/>
                  </a:lnTo>
                  <a:lnTo>
                    <a:pt x="241" y="11104"/>
                  </a:lnTo>
                  <a:lnTo>
                    <a:pt x="266" y="11132"/>
                  </a:lnTo>
                  <a:lnTo>
                    <a:pt x="210" y="11166"/>
                  </a:lnTo>
                  <a:lnTo>
                    <a:pt x="130" y="11266"/>
                  </a:lnTo>
                  <a:lnTo>
                    <a:pt x="293" y="11331"/>
                  </a:lnTo>
                  <a:lnTo>
                    <a:pt x="317" y="11435"/>
                  </a:lnTo>
                  <a:lnTo>
                    <a:pt x="279" y="11601"/>
                  </a:lnTo>
                  <a:lnTo>
                    <a:pt x="393" y="11580"/>
                  </a:lnTo>
                  <a:lnTo>
                    <a:pt x="414" y="11705"/>
                  </a:lnTo>
                  <a:lnTo>
                    <a:pt x="338" y="11790"/>
                  </a:lnTo>
                  <a:lnTo>
                    <a:pt x="362" y="11949"/>
                  </a:lnTo>
                  <a:lnTo>
                    <a:pt x="346" y="12069"/>
                  </a:lnTo>
                  <a:lnTo>
                    <a:pt x="435" y="12077"/>
                  </a:lnTo>
                  <a:lnTo>
                    <a:pt x="480" y="12218"/>
                  </a:lnTo>
                  <a:lnTo>
                    <a:pt x="500" y="12345"/>
                  </a:lnTo>
                  <a:lnTo>
                    <a:pt x="556" y="12538"/>
                  </a:lnTo>
                  <a:lnTo>
                    <a:pt x="670" y="12652"/>
                  </a:lnTo>
                  <a:lnTo>
                    <a:pt x="725" y="12777"/>
                  </a:lnTo>
                  <a:lnTo>
                    <a:pt x="846" y="12862"/>
                  </a:lnTo>
                  <a:lnTo>
                    <a:pt x="922" y="12976"/>
                  </a:lnTo>
                  <a:lnTo>
                    <a:pt x="922" y="13058"/>
                  </a:lnTo>
                  <a:lnTo>
                    <a:pt x="853" y="13096"/>
                  </a:lnTo>
                  <a:lnTo>
                    <a:pt x="773" y="13083"/>
                  </a:lnTo>
                  <a:lnTo>
                    <a:pt x="752" y="13121"/>
                  </a:lnTo>
                  <a:lnTo>
                    <a:pt x="825" y="13296"/>
                  </a:lnTo>
                  <a:lnTo>
                    <a:pt x="742" y="13290"/>
                  </a:lnTo>
                  <a:lnTo>
                    <a:pt x="666" y="13248"/>
                  </a:lnTo>
                  <a:lnTo>
                    <a:pt x="659" y="13321"/>
                  </a:lnTo>
                  <a:lnTo>
                    <a:pt x="819" y="13700"/>
                  </a:lnTo>
                  <a:lnTo>
                    <a:pt x="901" y="13827"/>
                  </a:lnTo>
                  <a:lnTo>
                    <a:pt x="939" y="13934"/>
                  </a:lnTo>
                  <a:lnTo>
                    <a:pt x="904" y="13992"/>
                  </a:lnTo>
                  <a:lnTo>
                    <a:pt x="888" y="14121"/>
                  </a:lnTo>
                  <a:lnTo>
                    <a:pt x="853" y="14130"/>
                  </a:lnTo>
                  <a:lnTo>
                    <a:pt x="839" y="14186"/>
                  </a:lnTo>
                  <a:lnTo>
                    <a:pt x="980" y="14182"/>
                  </a:lnTo>
                  <a:lnTo>
                    <a:pt x="1109" y="14226"/>
                  </a:lnTo>
                  <a:lnTo>
                    <a:pt x="1315" y="14155"/>
                  </a:lnTo>
                  <a:lnTo>
                    <a:pt x="1506" y="14151"/>
                  </a:lnTo>
                  <a:lnTo>
                    <a:pt x="1618" y="14206"/>
                  </a:lnTo>
                  <a:lnTo>
                    <a:pt x="1674" y="14161"/>
                  </a:lnTo>
                  <a:lnTo>
                    <a:pt x="1723" y="14010"/>
                  </a:lnTo>
                  <a:lnTo>
                    <a:pt x="1691" y="13776"/>
                  </a:lnTo>
                  <a:lnTo>
                    <a:pt x="1750" y="13624"/>
                  </a:lnTo>
                  <a:lnTo>
                    <a:pt x="1819" y="13500"/>
                  </a:lnTo>
                  <a:lnTo>
                    <a:pt x="1923" y="13535"/>
                  </a:lnTo>
                  <a:lnTo>
                    <a:pt x="1971" y="13421"/>
                  </a:lnTo>
                  <a:lnTo>
                    <a:pt x="2086" y="13352"/>
                  </a:lnTo>
                  <a:lnTo>
                    <a:pt x="2247" y="13359"/>
                  </a:lnTo>
                  <a:lnTo>
                    <a:pt x="2345" y="13397"/>
                  </a:lnTo>
                  <a:lnTo>
                    <a:pt x="2468" y="13365"/>
                  </a:lnTo>
                  <a:lnTo>
                    <a:pt x="2599" y="13399"/>
                  </a:lnTo>
                  <a:lnTo>
                    <a:pt x="2727" y="13399"/>
                  </a:lnTo>
                  <a:lnTo>
                    <a:pt x="2776" y="13190"/>
                  </a:lnTo>
                  <a:lnTo>
                    <a:pt x="2872" y="12945"/>
                  </a:lnTo>
                  <a:lnTo>
                    <a:pt x="2969" y="12762"/>
                  </a:lnTo>
                  <a:lnTo>
                    <a:pt x="2976" y="12541"/>
                  </a:lnTo>
                  <a:lnTo>
                    <a:pt x="3021" y="12403"/>
                  </a:lnTo>
                  <a:lnTo>
                    <a:pt x="3007" y="12256"/>
                  </a:lnTo>
                  <a:lnTo>
                    <a:pt x="3048" y="12128"/>
                  </a:lnTo>
                  <a:lnTo>
                    <a:pt x="3104" y="12021"/>
                  </a:lnTo>
                  <a:lnTo>
                    <a:pt x="3093" y="11908"/>
                  </a:lnTo>
                  <a:lnTo>
                    <a:pt x="3048" y="11839"/>
                  </a:lnTo>
                  <a:lnTo>
                    <a:pt x="3110" y="11732"/>
                  </a:lnTo>
                  <a:lnTo>
                    <a:pt x="3090" y="11642"/>
                  </a:lnTo>
                  <a:lnTo>
                    <a:pt x="3035" y="11570"/>
                  </a:lnTo>
                  <a:lnTo>
                    <a:pt x="3021" y="11518"/>
                  </a:lnTo>
                  <a:lnTo>
                    <a:pt x="3035" y="11473"/>
                  </a:lnTo>
                  <a:lnTo>
                    <a:pt x="3097" y="11504"/>
                  </a:lnTo>
                  <a:lnTo>
                    <a:pt x="3148" y="11494"/>
                  </a:lnTo>
                  <a:lnTo>
                    <a:pt x="3114" y="11429"/>
                  </a:lnTo>
                  <a:lnTo>
                    <a:pt x="3121" y="11384"/>
                  </a:lnTo>
                  <a:lnTo>
                    <a:pt x="3152" y="11326"/>
                  </a:lnTo>
                  <a:lnTo>
                    <a:pt x="3142" y="11273"/>
                  </a:lnTo>
                  <a:lnTo>
                    <a:pt x="3162" y="11101"/>
                  </a:lnTo>
                  <a:lnTo>
                    <a:pt x="3148" y="11053"/>
                  </a:lnTo>
                  <a:lnTo>
                    <a:pt x="3066" y="10987"/>
                  </a:lnTo>
                  <a:lnTo>
                    <a:pt x="2965" y="10939"/>
                  </a:lnTo>
                  <a:lnTo>
                    <a:pt x="2990" y="10929"/>
                  </a:lnTo>
                  <a:lnTo>
                    <a:pt x="3086" y="10956"/>
                  </a:lnTo>
                  <a:lnTo>
                    <a:pt x="3183" y="10939"/>
                  </a:lnTo>
                  <a:lnTo>
                    <a:pt x="3208" y="10894"/>
                  </a:lnTo>
                  <a:lnTo>
                    <a:pt x="3108" y="10809"/>
                  </a:lnTo>
                  <a:lnTo>
                    <a:pt x="2820" y="10774"/>
                  </a:lnTo>
                  <a:lnTo>
                    <a:pt x="2838" y="10743"/>
                  </a:lnTo>
                  <a:lnTo>
                    <a:pt x="3070" y="10712"/>
                  </a:lnTo>
                  <a:lnTo>
                    <a:pt x="3200" y="10753"/>
                  </a:lnTo>
                  <a:lnTo>
                    <a:pt x="3273" y="10715"/>
                  </a:lnTo>
                  <a:lnTo>
                    <a:pt x="3290" y="10622"/>
                  </a:lnTo>
                  <a:lnTo>
                    <a:pt x="3425" y="10611"/>
                  </a:lnTo>
                  <a:lnTo>
                    <a:pt x="3539" y="10495"/>
                  </a:lnTo>
                  <a:lnTo>
                    <a:pt x="3594" y="10426"/>
                  </a:lnTo>
                  <a:lnTo>
                    <a:pt x="3587" y="10305"/>
                  </a:lnTo>
                  <a:lnTo>
                    <a:pt x="3670" y="10326"/>
                  </a:lnTo>
                  <a:lnTo>
                    <a:pt x="3673" y="10446"/>
                  </a:lnTo>
                  <a:lnTo>
                    <a:pt x="3798" y="10429"/>
                  </a:lnTo>
                  <a:lnTo>
                    <a:pt x="3867" y="10301"/>
                  </a:lnTo>
                  <a:lnTo>
                    <a:pt x="4009" y="10174"/>
                  </a:lnTo>
                  <a:lnTo>
                    <a:pt x="3971" y="10054"/>
                  </a:lnTo>
                  <a:lnTo>
                    <a:pt x="4022" y="10098"/>
                  </a:lnTo>
                  <a:lnTo>
                    <a:pt x="4088" y="10094"/>
                  </a:lnTo>
                  <a:lnTo>
                    <a:pt x="4088" y="10036"/>
                  </a:lnTo>
                  <a:lnTo>
                    <a:pt x="4146" y="9985"/>
                  </a:lnTo>
                  <a:lnTo>
                    <a:pt x="4129" y="9940"/>
                  </a:lnTo>
                  <a:lnTo>
                    <a:pt x="3604" y="10071"/>
                  </a:lnTo>
                  <a:lnTo>
                    <a:pt x="3480" y="10050"/>
                  </a:lnTo>
                  <a:lnTo>
                    <a:pt x="3432" y="10088"/>
                  </a:lnTo>
                  <a:lnTo>
                    <a:pt x="3404" y="10022"/>
                  </a:lnTo>
                  <a:lnTo>
                    <a:pt x="3345" y="9971"/>
                  </a:lnTo>
                  <a:lnTo>
                    <a:pt x="3097" y="9871"/>
                  </a:lnTo>
                  <a:lnTo>
                    <a:pt x="2959" y="9898"/>
                  </a:lnTo>
                  <a:lnTo>
                    <a:pt x="2900" y="9867"/>
                  </a:lnTo>
                  <a:lnTo>
                    <a:pt x="2956" y="9836"/>
                  </a:lnTo>
                  <a:lnTo>
                    <a:pt x="2997" y="9775"/>
                  </a:lnTo>
                  <a:lnTo>
                    <a:pt x="3063" y="9788"/>
                  </a:lnTo>
                  <a:lnTo>
                    <a:pt x="3142" y="9764"/>
                  </a:lnTo>
                  <a:lnTo>
                    <a:pt x="3266" y="9778"/>
                  </a:lnTo>
                  <a:lnTo>
                    <a:pt x="3276" y="9768"/>
                  </a:lnTo>
                  <a:lnTo>
                    <a:pt x="3376" y="9860"/>
                  </a:lnTo>
                  <a:lnTo>
                    <a:pt x="3442" y="9819"/>
                  </a:lnTo>
                  <a:lnTo>
                    <a:pt x="3445" y="9788"/>
                  </a:lnTo>
                  <a:lnTo>
                    <a:pt x="3514" y="9840"/>
                  </a:lnTo>
                  <a:lnTo>
                    <a:pt x="3597" y="9864"/>
                  </a:lnTo>
                  <a:lnTo>
                    <a:pt x="3625" y="9806"/>
                  </a:lnTo>
                  <a:lnTo>
                    <a:pt x="3656" y="9833"/>
                  </a:lnTo>
                  <a:lnTo>
                    <a:pt x="3704" y="9936"/>
                  </a:lnTo>
                  <a:lnTo>
                    <a:pt x="3784" y="9956"/>
                  </a:lnTo>
                  <a:lnTo>
                    <a:pt x="4098" y="9782"/>
                  </a:lnTo>
                  <a:lnTo>
                    <a:pt x="4195" y="9599"/>
                  </a:lnTo>
                  <a:lnTo>
                    <a:pt x="4243" y="9550"/>
                  </a:lnTo>
                  <a:lnTo>
                    <a:pt x="4268" y="9385"/>
                  </a:lnTo>
                  <a:lnTo>
                    <a:pt x="4198" y="9247"/>
                  </a:lnTo>
                  <a:lnTo>
                    <a:pt x="4070" y="9164"/>
                  </a:lnTo>
                  <a:lnTo>
                    <a:pt x="3974" y="9030"/>
                  </a:lnTo>
                  <a:lnTo>
                    <a:pt x="4050" y="9024"/>
                  </a:lnTo>
                  <a:lnTo>
                    <a:pt x="4043" y="8986"/>
                  </a:lnTo>
                  <a:lnTo>
                    <a:pt x="3826" y="8899"/>
                  </a:lnTo>
                  <a:lnTo>
                    <a:pt x="3808" y="8810"/>
                  </a:lnTo>
                  <a:lnTo>
                    <a:pt x="3763" y="8719"/>
                  </a:lnTo>
                  <a:lnTo>
                    <a:pt x="3597" y="8748"/>
                  </a:lnTo>
                  <a:lnTo>
                    <a:pt x="3549" y="8692"/>
                  </a:lnTo>
                  <a:lnTo>
                    <a:pt x="3532" y="8650"/>
                  </a:lnTo>
                  <a:lnTo>
                    <a:pt x="3494" y="8645"/>
                  </a:lnTo>
                  <a:lnTo>
                    <a:pt x="3498" y="8685"/>
                  </a:lnTo>
                  <a:lnTo>
                    <a:pt x="3438" y="8861"/>
                  </a:lnTo>
                  <a:lnTo>
                    <a:pt x="3366" y="8968"/>
                  </a:lnTo>
                  <a:lnTo>
                    <a:pt x="3190" y="9106"/>
                  </a:lnTo>
                  <a:lnTo>
                    <a:pt x="3124" y="9154"/>
                  </a:lnTo>
                  <a:lnTo>
                    <a:pt x="3035" y="9158"/>
                  </a:lnTo>
                  <a:lnTo>
                    <a:pt x="2918" y="9192"/>
                  </a:lnTo>
                  <a:lnTo>
                    <a:pt x="2845" y="9171"/>
                  </a:lnTo>
                  <a:lnTo>
                    <a:pt x="2927" y="9113"/>
                  </a:lnTo>
                  <a:lnTo>
                    <a:pt x="3045" y="9085"/>
                  </a:lnTo>
                  <a:lnTo>
                    <a:pt x="3135" y="8999"/>
                  </a:lnTo>
                  <a:lnTo>
                    <a:pt x="3228" y="8957"/>
                  </a:lnTo>
                  <a:lnTo>
                    <a:pt x="3387" y="8806"/>
                  </a:lnTo>
                  <a:lnTo>
                    <a:pt x="3414" y="8713"/>
                  </a:lnTo>
                  <a:lnTo>
                    <a:pt x="3411" y="8592"/>
                  </a:lnTo>
                  <a:lnTo>
                    <a:pt x="3328" y="8578"/>
                  </a:lnTo>
                  <a:lnTo>
                    <a:pt x="3362" y="8507"/>
                  </a:lnTo>
                  <a:lnTo>
                    <a:pt x="3362" y="8413"/>
                  </a:lnTo>
                  <a:lnTo>
                    <a:pt x="3325" y="8327"/>
                  </a:lnTo>
                  <a:lnTo>
                    <a:pt x="3287" y="8072"/>
                  </a:lnTo>
                  <a:lnTo>
                    <a:pt x="3293" y="7907"/>
                  </a:lnTo>
                  <a:lnTo>
                    <a:pt x="3253" y="7703"/>
                  </a:lnTo>
                  <a:lnTo>
                    <a:pt x="3262" y="7642"/>
                  </a:lnTo>
                  <a:lnTo>
                    <a:pt x="3287" y="7565"/>
                  </a:lnTo>
                  <a:lnTo>
                    <a:pt x="3276" y="7513"/>
                  </a:lnTo>
                  <a:lnTo>
                    <a:pt x="3421" y="7586"/>
                  </a:lnTo>
                  <a:lnTo>
                    <a:pt x="3425" y="7510"/>
                  </a:lnTo>
                  <a:lnTo>
                    <a:pt x="3376" y="7317"/>
                  </a:lnTo>
                  <a:lnTo>
                    <a:pt x="3407" y="7128"/>
                  </a:lnTo>
                  <a:lnTo>
                    <a:pt x="3452" y="6969"/>
                  </a:lnTo>
                  <a:lnTo>
                    <a:pt x="3383" y="6889"/>
                  </a:lnTo>
                  <a:lnTo>
                    <a:pt x="3353" y="6814"/>
                  </a:lnTo>
                  <a:lnTo>
                    <a:pt x="3356" y="6690"/>
                  </a:lnTo>
                  <a:lnTo>
                    <a:pt x="3505" y="6762"/>
                  </a:lnTo>
                  <a:lnTo>
                    <a:pt x="3511" y="6735"/>
                  </a:lnTo>
                  <a:lnTo>
                    <a:pt x="3549" y="6711"/>
                  </a:lnTo>
                  <a:lnTo>
                    <a:pt x="3601" y="6631"/>
                  </a:lnTo>
                  <a:lnTo>
                    <a:pt x="3604" y="6604"/>
                  </a:lnTo>
                  <a:lnTo>
                    <a:pt x="3590" y="6579"/>
                  </a:lnTo>
                  <a:lnTo>
                    <a:pt x="3608" y="6439"/>
                  </a:lnTo>
                  <a:lnTo>
                    <a:pt x="3566" y="6345"/>
                  </a:lnTo>
                  <a:lnTo>
                    <a:pt x="3566" y="6273"/>
                  </a:lnTo>
                  <a:lnTo>
                    <a:pt x="3594" y="6356"/>
                  </a:lnTo>
                  <a:lnTo>
                    <a:pt x="3681" y="6414"/>
                  </a:lnTo>
                  <a:lnTo>
                    <a:pt x="3711" y="6404"/>
                  </a:lnTo>
                  <a:lnTo>
                    <a:pt x="3757" y="6318"/>
                  </a:lnTo>
                  <a:lnTo>
                    <a:pt x="3818" y="6349"/>
                  </a:lnTo>
                  <a:lnTo>
                    <a:pt x="3826" y="6280"/>
                  </a:lnTo>
                  <a:lnTo>
                    <a:pt x="3860" y="6232"/>
                  </a:lnTo>
                  <a:lnTo>
                    <a:pt x="3753" y="6191"/>
                  </a:lnTo>
                  <a:lnTo>
                    <a:pt x="3826" y="6194"/>
                  </a:lnTo>
                  <a:lnTo>
                    <a:pt x="3902" y="6138"/>
                  </a:lnTo>
                  <a:lnTo>
                    <a:pt x="3894" y="6100"/>
                  </a:lnTo>
                  <a:lnTo>
                    <a:pt x="3963" y="6062"/>
                  </a:lnTo>
                  <a:lnTo>
                    <a:pt x="3963" y="5980"/>
                  </a:lnTo>
                  <a:lnTo>
                    <a:pt x="4016" y="5959"/>
                  </a:lnTo>
                  <a:lnTo>
                    <a:pt x="4016" y="5855"/>
                  </a:lnTo>
                  <a:lnTo>
                    <a:pt x="4074" y="5846"/>
                  </a:lnTo>
                  <a:lnTo>
                    <a:pt x="4167" y="5855"/>
                  </a:lnTo>
                  <a:lnTo>
                    <a:pt x="4264" y="5773"/>
                  </a:lnTo>
                  <a:lnTo>
                    <a:pt x="4288" y="5681"/>
                  </a:lnTo>
                  <a:lnTo>
                    <a:pt x="4406" y="5577"/>
                  </a:lnTo>
                  <a:lnTo>
                    <a:pt x="4471" y="5632"/>
                  </a:lnTo>
                  <a:lnTo>
                    <a:pt x="4558" y="5563"/>
                  </a:lnTo>
                  <a:lnTo>
                    <a:pt x="4578" y="5483"/>
                  </a:lnTo>
                  <a:lnTo>
                    <a:pt x="4643" y="5425"/>
                  </a:lnTo>
                  <a:lnTo>
                    <a:pt x="4709" y="5442"/>
                  </a:lnTo>
                  <a:lnTo>
                    <a:pt x="4741" y="5401"/>
                  </a:lnTo>
                  <a:lnTo>
                    <a:pt x="4844" y="5336"/>
                  </a:lnTo>
                  <a:lnTo>
                    <a:pt x="4882" y="5260"/>
                  </a:lnTo>
                  <a:lnTo>
                    <a:pt x="4937" y="5229"/>
                  </a:lnTo>
                  <a:lnTo>
                    <a:pt x="4993" y="5091"/>
                  </a:lnTo>
                  <a:lnTo>
                    <a:pt x="5006" y="5012"/>
                  </a:lnTo>
                  <a:lnTo>
                    <a:pt x="5096" y="4898"/>
                  </a:lnTo>
                  <a:lnTo>
                    <a:pt x="5131" y="4787"/>
                  </a:lnTo>
                  <a:lnTo>
                    <a:pt x="5182" y="4687"/>
                  </a:lnTo>
                  <a:lnTo>
                    <a:pt x="5214" y="4640"/>
                  </a:lnTo>
                  <a:lnTo>
                    <a:pt x="5230" y="4684"/>
                  </a:lnTo>
                  <a:lnTo>
                    <a:pt x="5227" y="4763"/>
                  </a:lnTo>
                  <a:lnTo>
                    <a:pt x="5292" y="4649"/>
                  </a:lnTo>
                  <a:lnTo>
                    <a:pt x="5303" y="4612"/>
                  </a:lnTo>
                  <a:lnTo>
                    <a:pt x="5254" y="4574"/>
                  </a:lnTo>
                  <a:lnTo>
                    <a:pt x="5245" y="4529"/>
                  </a:lnTo>
                  <a:lnTo>
                    <a:pt x="5109" y="4419"/>
                  </a:lnTo>
                  <a:lnTo>
                    <a:pt x="5089" y="4368"/>
                  </a:lnTo>
                  <a:lnTo>
                    <a:pt x="5106" y="4350"/>
                  </a:lnTo>
                  <a:lnTo>
                    <a:pt x="5093" y="4295"/>
                  </a:lnTo>
                  <a:lnTo>
                    <a:pt x="5044" y="4253"/>
                  </a:lnTo>
                  <a:lnTo>
                    <a:pt x="5047" y="4226"/>
                  </a:lnTo>
                  <a:lnTo>
                    <a:pt x="5078" y="4188"/>
                  </a:lnTo>
                  <a:lnTo>
                    <a:pt x="5085" y="4136"/>
                  </a:lnTo>
                  <a:lnTo>
                    <a:pt x="5158" y="4098"/>
                  </a:lnTo>
                  <a:lnTo>
                    <a:pt x="5216" y="3902"/>
                  </a:lnTo>
                  <a:lnTo>
                    <a:pt x="5220" y="3851"/>
                  </a:lnTo>
                  <a:lnTo>
                    <a:pt x="5120" y="3719"/>
                  </a:lnTo>
                  <a:lnTo>
                    <a:pt x="5127" y="3699"/>
                  </a:lnTo>
                  <a:lnTo>
                    <a:pt x="5214" y="3637"/>
                  </a:lnTo>
                  <a:lnTo>
                    <a:pt x="5210" y="3578"/>
                  </a:lnTo>
                  <a:lnTo>
                    <a:pt x="5245" y="3564"/>
                  </a:lnTo>
                  <a:lnTo>
                    <a:pt x="5317" y="3588"/>
                  </a:lnTo>
                  <a:lnTo>
                    <a:pt x="5341" y="3578"/>
                  </a:lnTo>
                  <a:lnTo>
                    <a:pt x="5345" y="3523"/>
                  </a:lnTo>
                  <a:lnTo>
                    <a:pt x="5314" y="3492"/>
                  </a:lnTo>
                  <a:lnTo>
                    <a:pt x="5393" y="3475"/>
                  </a:lnTo>
                  <a:lnTo>
                    <a:pt x="5396" y="3434"/>
                  </a:lnTo>
                  <a:lnTo>
                    <a:pt x="5296" y="3319"/>
                  </a:lnTo>
                  <a:lnTo>
                    <a:pt x="5292" y="3292"/>
                  </a:lnTo>
                  <a:lnTo>
                    <a:pt x="5393" y="3347"/>
                  </a:lnTo>
                  <a:lnTo>
                    <a:pt x="5437" y="3406"/>
                  </a:lnTo>
                  <a:lnTo>
                    <a:pt x="5472" y="3403"/>
                  </a:lnTo>
                  <a:lnTo>
                    <a:pt x="5448" y="3278"/>
                  </a:lnTo>
                  <a:lnTo>
                    <a:pt x="5455" y="3296"/>
                  </a:lnTo>
                  <a:lnTo>
                    <a:pt x="5482" y="3274"/>
                  </a:lnTo>
                  <a:lnTo>
                    <a:pt x="5475" y="3116"/>
                  </a:lnTo>
                  <a:lnTo>
                    <a:pt x="5506" y="3106"/>
                  </a:lnTo>
                  <a:lnTo>
                    <a:pt x="5538" y="3102"/>
                  </a:lnTo>
                  <a:lnTo>
                    <a:pt x="5544" y="3144"/>
                  </a:lnTo>
                  <a:lnTo>
                    <a:pt x="5579" y="3178"/>
                  </a:lnTo>
                  <a:lnTo>
                    <a:pt x="5617" y="3192"/>
                  </a:lnTo>
                  <a:lnTo>
                    <a:pt x="5642" y="3085"/>
                  </a:lnTo>
                  <a:lnTo>
                    <a:pt x="5689" y="3113"/>
                  </a:lnTo>
                  <a:lnTo>
                    <a:pt x="5749" y="3185"/>
                  </a:lnTo>
                  <a:lnTo>
                    <a:pt x="5776" y="3182"/>
                  </a:lnTo>
                  <a:lnTo>
                    <a:pt x="5828" y="3216"/>
                  </a:lnTo>
                  <a:lnTo>
                    <a:pt x="5852" y="3120"/>
                  </a:lnTo>
                  <a:lnTo>
                    <a:pt x="6059" y="3085"/>
                  </a:lnTo>
                  <a:lnTo>
                    <a:pt x="6138" y="3120"/>
                  </a:lnTo>
                  <a:lnTo>
                    <a:pt x="6197" y="3171"/>
                  </a:lnTo>
                  <a:lnTo>
                    <a:pt x="6222" y="3109"/>
                  </a:lnTo>
                  <a:lnTo>
                    <a:pt x="6249" y="3085"/>
                  </a:lnTo>
                  <a:lnTo>
                    <a:pt x="6218" y="2993"/>
                  </a:lnTo>
                  <a:lnTo>
                    <a:pt x="6059" y="2757"/>
                  </a:lnTo>
                  <a:lnTo>
                    <a:pt x="6008" y="2610"/>
                  </a:lnTo>
                  <a:lnTo>
                    <a:pt x="6021" y="2478"/>
                  </a:lnTo>
                  <a:lnTo>
                    <a:pt x="6073" y="2369"/>
                  </a:lnTo>
                  <a:lnTo>
                    <a:pt x="6070" y="2300"/>
                  </a:lnTo>
                  <a:lnTo>
                    <a:pt x="6055" y="2206"/>
                  </a:lnTo>
                  <a:lnTo>
                    <a:pt x="5845" y="1899"/>
                  </a:lnTo>
                  <a:lnTo>
                    <a:pt x="5807" y="1783"/>
                  </a:lnTo>
                  <a:lnTo>
                    <a:pt x="5832" y="1634"/>
                  </a:lnTo>
                  <a:lnTo>
                    <a:pt x="5800" y="1531"/>
                  </a:lnTo>
                  <a:lnTo>
                    <a:pt x="5759" y="1486"/>
                  </a:lnTo>
                  <a:lnTo>
                    <a:pt x="5731" y="1386"/>
                  </a:lnTo>
                  <a:lnTo>
                    <a:pt x="5707" y="1241"/>
                  </a:lnTo>
                  <a:lnTo>
                    <a:pt x="5707" y="1134"/>
                  </a:lnTo>
                  <a:lnTo>
                    <a:pt x="5727" y="1041"/>
                  </a:lnTo>
                  <a:lnTo>
                    <a:pt x="5703" y="996"/>
                  </a:lnTo>
                  <a:lnTo>
                    <a:pt x="5410" y="638"/>
                  </a:lnTo>
                  <a:lnTo>
                    <a:pt x="5261" y="539"/>
                  </a:lnTo>
                  <a:lnTo>
                    <a:pt x="4999" y="490"/>
                  </a:lnTo>
                  <a:lnTo>
                    <a:pt x="4754" y="307"/>
                  </a:lnTo>
                  <a:lnTo>
                    <a:pt x="4429" y="31"/>
                  </a:lnTo>
                  <a:lnTo>
                    <a:pt x="4409" y="0"/>
                  </a:lnTo>
                  <a:lnTo>
                    <a:pt x="4391" y="4"/>
                  </a:lnTo>
                  <a:lnTo>
                    <a:pt x="4230" y="11"/>
                  </a:lnTo>
                  <a:lnTo>
                    <a:pt x="4192" y="31"/>
                  </a:lnTo>
                  <a:lnTo>
                    <a:pt x="4205" y="94"/>
                  </a:lnTo>
                  <a:lnTo>
                    <a:pt x="4243" y="125"/>
                  </a:lnTo>
                  <a:lnTo>
                    <a:pt x="4261" y="194"/>
                  </a:lnTo>
                  <a:lnTo>
                    <a:pt x="4250" y="256"/>
                  </a:lnTo>
                  <a:lnTo>
                    <a:pt x="4226" y="290"/>
                  </a:lnTo>
                  <a:lnTo>
                    <a:pt x="4208" y="394"/>
                  </a:lnTo>
                  <a:lnTo>
                    <a:pt x="4170" y="466"/>
                  </a:lnTo>
                  <a:lnTo>
                    <a:pt x="4184" y="535"/>
                  </a:lnTo>
                  <a:lnTo>
                    <a:pt x="4261" y="593"/>
                  </a:lnTo>
                  <a:lnTo>
                    <a:pt x="4219" y="649"/>
                  </a:lnTo>
                  <a:lnTo>
                    <a:pt x="4157" y="669"/>
                  </a:lnTo>
                  <a:lnTo>
                    <a:pt x="3833" y="586"/>
                  </a:lnTo>
                  <a:lnTo>
                    <a:pt x="3608" y="570"/>
                  </a:lnTo>
                  <a:lnTo>
                    <a:pt x="3543" y="583"/>
                  </a:lnTo>
                  <a:lnTo>
                    <a:pt x="3505" y="615"/>
                  </a:lnTo>
                  <a:lnTo>
                    <a:pt x="3473" y="680"/>
                  </a:lnTo>
                  <a:lnTo>
                    <a:pt x="3494" y="838"/>
                  </a:lnTo>
                  <a:lnTo>
                    <a:pt x="3483" y="903"/>
                  </a:lnTo>
                  <a:lnTo>
                    <a:pt x="3452" y="1048"/>
                  </a:lnTo>
                  <a:lnTo>
                    <a:pt x="3391" y="1163"/>
                  </a:lnTo>
                  <a:lnTo>
                    <a:pt x="3360" y="1152"/>
                  </a:lnTo>
                  <a:lnTo>
                    <a:pt x="3284" y="1069"/>
                  </a:lnTo>
                  <a:lnTo>
                    <a:pt x="3190" y="1028"/>
                  </a:lnTo>
                  <a:lnTo>
                    <a:pt x="3104" y="1048"/>
                  </a:lnTo>
                  <a:lnTo>
                    <a:pt x="2969" y="1186"/>
                  </a:lnTo>
                  <a:lnTo>
                    <a:pt x="2907" y="1262"/>
                  </a:lnTo>
                  <a:lnTo>
                    <a:pt x="2879" y="1379"/>
                  </a:lnTo>
                  <a:lnTo>
                    <a:pt x="2869" y="1469"/>
                  </a:lnTo>
                  <a:lnTo>
                    <a:pt x="2824" y="1545"/>
                  </a:lnTo>
                  <a:lnTo>
                    <a:pt x="2720" y="1665"/>
                  </a:lnTo>
                  <a:lnTo>
                    <a:pt x="2700" y="1761"/>
                  </a:lnTo>
                  <a:lnTo>
                    <a:pt x="2803" y="1921"/>
                  </a:lnTo>
                  <a:lnTo>
                    <a:pt x="2818" y="2013"/>
                  </a:lnTo>
                  <a:lnTo>
                    <a:pt x="2800" y="2072"/>
                  </a:lnTo>
                  <a:lnTo>
                    <a:pt x="2755" y="2162"/>
                  </a:lnTo>
                  <a:lnTo>
                    <a:pt x="2655" y="2262"/>
                  </a:lnTo>
                  <a:lnTo>
                    <a:pt x="2603" y="2365"/>
                  </a:lnTo>
                  <a:lnTo>
                    <a:pt x="2420" y="2585"/>
                  </a:lnTo>
                  <a:lnTo>
                    <a:pt x="2376" y="2706"/>
                  </a:lnTo>
                  <a:lnTo>
                    <a:pt x="2354" y="2855"/>
                  </a:lnTo>
                  <a:lnTo>
                    <a:pt x="2316" y="2947"/>
                  </a:lnTo>
                  <a:lnTo>
                    <a:pt x="2178" y="3047"/>
                  </a:lnTo>
                  <a:lnTo>
                    <a:pt x="2086" y="3047"/>
                  </a:lnTo>
                  <a:lnTo>
                    <a:pt x="2030" y="3082"/>
                  </a:lnTo>
                  <a:lnTo>
                    <a:pt x="2040" y="3189"/>
                  </a:lnTo>
                  <a:lnTo>
                    <a:pt x="2037" y="3354"/>
                  </a:lnTo>
                  <a:lnTo>
                    <a:pt x="2026" y="3575"/>
                  </a:lnTo>
                  <a:lnTo>
                    <a:pt x="1946" y="3967"/>
                  </a:lnTo>
                  <a:lnTo>
                    <a:pt x="1809" y="4253"/>
                  </a:lnTo>
                  <a:lnTo>
                    <a:pt x="1636" y="4505"/>
                  </a:lnTo>
                  <a:lnTo>
                    <a:pt x="1643" y="4584"/>
                  </a:lnTo>
                  <a:lnTo>
                    <a:pt x="1763" y="4712"/>
                  </a:lnTo>
                  <a:lnTo>
                    <a:pt x="1819" y="4801"/>
                  </a:lnTo>
                  <a:lnTo>
                    <a:pt x="1812" y="4967"/>
                  </a:lnTo>
                  <a:lnTo>
                    <a:pt x="1792" y="5060"/>
                  </a:lnTo>
                  <a:lnTo>
                    <a:pt x="1705" y="5160"/>
                  </a:lnTo>
                  <a:lnTo>
                    <a:pt x="1582" y="5153"/>
                  </a:lnTo>
                  <a:lnTo>
                    <a:pt x="1429" y="5115"/>
                  </a:lnTo>
                  <a:lnTo>
                    <a:pt x="1243" y="5160"/>
                  </a:lnTo>
                  <a:lnTo>
                    <a:pt x="1091" y="5246"/>
                  </a:lnTo>
                  <a:lnTo>
                    <a:pt x="866" y="5494"/>
                  </a:lnTo>
                  <a:lnTo>
                    <a:pt x="804" y="5625"/>
                  </a:lnTo>
                  <a:lnTo>
                    <a:pt x="759" y="5786"/>
                  </a:lnTo>
                  <a:lnTo>
                    <a:pt x="781" y="5935"/>
                  </a:lnTo>
                  <a:lnTo>
                    <a:pt x="832" y="6056"/>
                  </a:lnTo>
                  <a:lnTo>
                    <a:pt x="873" y="6104"/>
                  </a:lnTo>
                  <a:lnTo>
                    <a:pt x="815" y="6183"/>
                  </a:lnTo>
                  <a:lnTo>
                    <a:pt x="794" y="6290"/>
                  </a:lnTo>
                  <a:lnTo>
                    <a:pt x="763" y="6372"/>
                  </a:lnTo>
                  <a:lnTo>
                    <a:pt x="756" y="6539"/>
                  </a:lnTo>
                  <a:lnTo>
                    <a:pt x="721" y="6617"/>
                  </a:lnTo>
                  <a:lnTo>
                    <a:pt x="718" y="6721"/>
                  </a:lnTo>
                  <a:lnTo>
                    <a:pt x="746" y="6749"/>
                  </a:lnTo>
                  <a:lnTo>
                    <a:pt x="777" y="6883"/>
                  </a:lnTo>
                  <a:lnTo>
                    <a:pt x="748" y="7259"/>
                  </a:lnTo>
                  <a:lnTo>
                    <a:pt x="752" y="7444"/>
                  </a:lnTo>
                  <a:lnTo>
                    <a:pt x="828" y="7582"/>
                  </a:lnTo>
                  <a:lnTo>
                    <a:pt x="1018" y="7727"/>
                  </a:lnTo>
                  <a:lnTo>
                    <a:pt x="1038" y="7921"/>
                  </a:lnTo>
                  <a:lnTo>
                    <a:pt x="977" y="8086"/>
                  </a:lnTo>
                  <a:lnTo>
                    <a:pt x="873" y="8186"/>
                  </a:lnTo>
                  <a:lnTo>
                    <a:pt x="732" y="8237"/>
                  </a:lnTo>
                  <a:lnTo>
                    <a:pt x="701" y="8296"/>
                  </a:lnTo>
                  <a:lnTo>
                    <a:pt x="794" y="8420"/>
                  </a:lnTo>
                  <a:lnTo>
                    <a:pt x="863" y="8730"/>
                  </a:lnTo>
                  <a:lnTo>
                    <a:pt x="777" y="9006"/>
                  </a:lnTo>
                  <a:lnTo>
                    <a:pt x="819" y="9089"/>
                  </a:lnTo>
                  <a:lnTo>
                    <a:pt x="794" y="9233"/>
                  </a:lnTo>
                  <a:lnTo>
                    <a:pt x="732" y="9336"/>
                  </a:lnTo>
                  <a:lnTo>
                    <a:pt x="456" y="9430"/>
                  </a:lnTo>
                  <a:lnTo>
                    <a:pt x="449" y="9557"/>
                  </a:lnTo>
                  <a:lnTo>
                    <a:pt x="311" y="9764"/>
                  </a:lnTo>
                  <a:lnTo>
                    <a:pt x="317" y="9920"/>
                  </a:lnTo>
                  <a:lnTo>
                    <a:pt x="351" y="10043"/>
                  </a:lnTo>
                  <a:lnTo>
                    <a:pt x="252" y="10412"/>
                  </a:lnTo>
                  <a:lnTo>
                    <a:pt x="168" y="10464"/>
                  </a:lnTo>
                  <a:lnTo>
                    <a:pt x="130" y="10377"/>
                  </a:lnTo>
                  <a:lnTo>
                    <a:pt x="92" y="10508"/>
                  </a:lnTo>
                  <a:lnTo>
                    <a:pt x="103" y="10284"/>
                  </a:lnTo>
                  <a:lnTo>
                    <a:pt x="83" y="10243"/>
                  </a:lnTo>
                  <a:close/>
                  <a:moveTo>
                    <a:pt x="2986" y="13276"/>
                  </a:moveTo>
                  <a:lnTo>
                    <a:pt x="3070" y="13176"/>
                  </a:lnTo>
                  <a:lnTo>
                    <a:pt x="3114" y="13049"/>
                  </a:lnTo>
                  <a:lnTo>
                    <a:pt x="3148" y="12862"/>
                  </a:lnTo>
                  <a:lnTo>
                    <a:pt x="3259" y="12525"/>
                  </a:lnTo>
                  <a:lnTo>
                    <a:pt x="3328" y="12197"/>
                  </a:lnTo>
                  <a:lnTo>
                    <a:pt x="3360" y="12145"/>
                  </a:lnTo>
                  <a:lnTo>
                    <a:pt x="3362" y="12104"/>
                  </a:lnTo>
                  <a:lnTo>
                    <a:pt x="3314" y="12156"/>
                  </a:lnTo>
                  <a:lnTo>
                    <a:pt x="3276" y="12231"/>
                  </a:lnTo>
                  <a:lnTo>
                    <a:pt x="3183" y="12579"/>
                  </a:lnTo>
                  <a:lnTo>
                    <a:pt x="3124" y="12666"/>
                  </a:lnTo>
                  <a:lnTo>
                    <a:pt x="3038" y="12866"/>
                  </a:lnTo>
                  <a:lnTo>
                    <a:pt x="3007" y="13020"/>
                  </a:lnTo>
                  <a:lnTo>
                    <a:pt x="2986" y="13276"/>
                  </a:lnTo>
                  <a:close/>
                  <a:moveTo>
                    <a:pt x="4022" y="12521"/>
                  </a:moveTo>
                  <a:lnTo>
                    <a:pt x="4091" y="12472"/>
                  </a:lnTo>
                  <a:lnTo>
                    <a:pt x="4177" y="12304"/>
                  </a:lnTo>
                  <a:lnTo>
                    <a:pt x="4329" y="12145"/>
                  </a:lnTo>
                  <a:lnTo>
                    <a:pt x="4329" y="12104"/>
                  </a:lnTo>
                  <a:lnTo>
                    <a:pt x="4440" y="12008"/>
                  </a:lnTo>
                  <a:lnTo>
                    <a:pt x="4409" y="11915"/>
                  </a:lnTo>
                  <a:lnTo>
                    <a:pt x="4388" y="11697"/>
                  </a:lnTo>
                  <a:lnTo>
                    <a:pt x="4413" y="11652"/>
                  </a:lnTo>
                  <a:lnTo>
                    <a:pt x="4475" y="11611"/>
                  </a:lnTo>
                  <a:lnTo>
                    <a:pt x="4475" y="11487"/>
                  </a:lnTo>
                  <a:lnTo>
                    <a:pt x="4416" y="11467"/>
                  </a:lnTo>
                  <a:lnTo>
                    <a:pt x="4353" y="11529"/>
                  </a:lnTo>
                  <a:lnTo>
                    <a:pt x="4270" y="11498"/>
                  </a:lnTo>
                  <a:lnTo>
                    <a:pt x="4070" y="11752"/>
                  </a:lnTo>
                  <a:lnTo>
                    <a:pt x="4018" y="11870"/>
                  </a:lnTo>
                  <a:lnTo>
                    <a:pt x="4005" y="11977"/>
                  </a:lnTo>
                  <a:lnTo>
                    <a:pt x="4016" y="12066"/>
                  </a:lnTo>
                  <a:lnTo>
                    <a:pt x="3994" y="12166"/>
                  </a:lnTo>
                  <a:lnTo>
                    <a:pt x="3998" y="12235"/>
                  </a:lnTo>
                  <a:lnTo>
                    <a:pt x="4032" y="12283"/>
                  </a:lnTo>
                  <a:lnTo>
                    <a:pt x="4029" y="12369"/>
                  </a:lnTo>
                  <a:lnTo>
                    <a:pt x="4088" y="12359"/>
                  </a:lnTo>
                  <a:lnTo>
                    <a:pt x="4078" y="12425"/>
                  </a:lnTo>
                  <a:lnTo>
                    <a:pt x="4022" y="12521"/>
                  </a:lnTo>
                  <a:close/>
                </a:path>
              </a:pathLst>
            </a:custGeom>
            <a:solidFill>
              <a:schemeClr val="accent1"/>
            </a:solidFill>
            <a:ln w="6350">
              <a:solidFill>
                <a:srgbClr val="FFFFFF"/>
              </a:solidFill>
            </a:ln>
          </p:spPr>
          <p:txBody>
            <a:bodyPr vert="eaVert" wrap="none" anchor="ctr"/>
            <a:lstStyle/>
            <a:p>
              <a:pPr marL="0" marR="0" lvl="0" indent="0" algn="l" defTabSz="8585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 name="Group 9">
            <a:extLst>
              <a:ext uri="{FF2B5EF4-FFF2-40B4-BE49-F238E27FC236}">
                <a16:creationId xmlns:a16="http://schemas.microsoft.com/office/drawing/2014/main" id="{EB3805C0-7B06-7FD7-2128-F3B28FFCF17D}"/>
              </a:ext>
            </a:extLst>
          </p:cNvPr>
          <p:cNvGrpSpPr>
            <a:grpSpLocks/>
          </p:cNvGrpSpPr>
          <p:nvPr/>
        </p:nvGrpSpPr>
        <p:grpSpPr>
          <a:xfrm>
            <a:off x="1776237" y="2078403"/>
            <a:ext cx="2867675" cy="1343129"/>
            <a:chOff x="3780742" y="1893081"/>
            <a:chExt cx="1911782" cy="895419"/>
          </a:xfrm>
        </p:grpSpPr>
        <p:sp>
          <p:nvSpPr>
            <p:cNvPr id="22" name="object 18">
              <a:extLst>
                <a:ext uri="{FF2B5EF4-FFF2-40B4-BE49-F238E27FC236}">
                  <a16:creationId xmlns:a16="http://schemas.microsoft.com/office/drawing/2014/main" id="{F2B21F3A-CEC2-AC0C-FF25-F9087C759757}"/>
                </a:ext>
              </a:extLst>
            </p:cNvPr>
            <p:cNvSpPr txBox="1">
              <a:spLocks/>
            </p:cNvSpPr>
            <p:nvPr/>
          </p:nvSpPr>
          <p:spPr>
            <a:xfrm>
              <a:off x="3780742" y="2411046"/>
              <a:ext cx="1911782" cy="377454"/>
            </a:xfrm>
            <a:prstGeom prst="rect">
              <a:avLst/>
            </a:prstGeom>
          </p:spPr>
          <p:txBody>
            <a:bodyPr vert="horz" wrap="square" lIns="0" tIns="12065" rIns="0" bIns="0" rtlCol="0">
              <a:spAutoFit/>
            </a:bodyPr>
            <a:lstStyle/>
            <a:p>
              <a:pPr marL="92075" marR="0" lvl="0" indent="0" algn="ctr" defTabSz="914400" rtl="0" eaLnBrk="1" fontAlgn="auto" latinLnBrk="0" hangingPunct="1">
                <a:lnSpc>
                  <a:spcPct val="100000"/>
                </a:lnSpc>
                <a:spcBef>
                  <a:spcPts val="95"/>
                </a:spcBef>
                <a:spcAft>
                  <a:spcPts val="0"/>
                </a:spcAft>
                <a:buClrTx/>
                <a:buSzTx/>
                <a:buFontTx/>
                <a:buNone/>
                <a:tabLst/>
                <a:defRPr/>
              </a:pPr>
              <a:r>
                <a:rPr kumimoji="0" lang="en-GB" sz="1800" b="1" i="0" u="none" strike="noStrike" kern="1200" cap="none" spc="-10" normalizeH="0" baseline="0" noProof="0">
                  <a:ln>
                    <a:noFill/>
                  </a:ln>
                  <a:solidFill>
                    <a:srgbClr val="00A89F"/>
                  </a:solidFill>
                  <a:effectLst/>
                  <a:uLnTx/>
                  <a:uFillTx/>
                  <a:latin typeface="Arial"/>
                  <a:ea typeface="+mn-ea"/>
                  <a:cs typeface="Arial"/>
                </a:rPr>
                <a:t>Bulk Digital Infrastructure</a:t>
              </a:r>
              <a:endParaRPr kumimoji="0" lang="en-GB" sz="1100" b="1" i="0" u="none" strike="noStrike" kern="1200" cap="none" spc="-10" normalizeH="0" baseline="0" noProof="0">
                <a:ln>
                  <a:noFill/>
                </a:ln>
                <a:solidFill>
                  <a:srgbClr val="00A89F"/>
                </a:solidFill>
                <a:effectLst/>
                <a:uLnTx/>
                <a:uFillTx/>
                <a:latin typeface="Arial"/>
                <a:ea typeface="+mn-ea"/>
                <a:cs typeface="Arial"/>
              </a:endParaRPr>
            </a:p>
          </p:txBody>
        </p:sp>
        <p:pic>
          <p:nvPicPr>
            <p:cNvPr id="61" name="Picture 2">
              <a:extLst>
                <a:ext uri="{FF2B5EF4-FFF2-40B4-BE49-F238E27FC236}">
                  <a16:creationId xmlns:a16="http://schemas.microsoft.com/office/drawing/2014/main" id="{59649E6D-DA9F-08C6-7A77-748F082F47E2}"/>
                </a:ext>
              </a:extLst>
            </p:cNvPr>
            <p:cNvPicPr>
              <a:picLocks noChangeAspect="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4117732" y="1893081"/>
              <a:ext cx="1237801" cy="454021"/>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object 11">
            <a:extLst>
              <a:ext uri="{FF2B5EF4-FFF2-40B4-BE49-F238E27FC236}">
                <a16:creationId xmlns:a16="http://schemas.microsoft.com/office/drawing/2014/main" id="{0D10FB67-F6F3-F0B0-E96C-0D9194DA8018}"/>
              </a:ext>
            </a:extLst>
          </p:cNvPr>
          <p:cNvSpPr>
            <a:spLocks/>
          </p:cNvSpPr>
          <p:nvPr/>
        </p:nvSpPr>
        <p:spPr>
          <a:xfrm>
            <a:off x="6060961" y="6042915"/>
            <a:ext cx="2628000" cy="45719"/>
          </a:xfrm>
          <a:custGeom>
            <a:avLst/>
            <a:gdLst/>
            <a:ahLst/>
            <a:cxnLst/>
            <a:rect l="l" t="t" r="r" b="b"/>
            <a:pathLst>
              <a:path w="10800715" h="71754">
                <a:moveTo>
                  <a:pt x="10800588" y="0"/>
                </a:moveTo>
                <a:lnTo>
                  <a:pt x="0" y="0"/>
                </a:lnTo>
                <a:lnTo>
                  <a:pt x="0" y="71628"/>
                </a:lnTo>
                <a:lnTo>
                  <a:pt x="10800588" y="71628"/>
                </a:lnTo>
                <a:lnTo>
                  <a:pt x="10800588" y="0"/>
                </a:lnTo>
                <a:close/>
              </a:path>
            </a:pathLst>
          </a:custGeom>
          <a:solidFill>
            <a:schemeClr val="accent1"/>
          </a:solidFill>
          <a:effectLst>
            <a:outerShdw blurRad="50800" dist="38100" dir="2700000" algn="tl" rotWithShape="0">
              <a:schemeClr val="accent1">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64657"/>
              </a:solidFill>
              <a:effectLst/>
              <a:uLnTx/>
              <a:uFillTx/>
              <a:latin typeface="Arial" panose="020B0604020202020204"/>
              <a:ea typeface="+mn-ea"/>
              <a:cs typeface="+mn-cs"/>
            </a:endParaRPr>
          </a:p>
        </p:txBody>
      </p:sp>
      <p:pic>
        <p:nvPicPr>
          <p:cNvPr id="27" name="Picture 48">
            <a:extLst>
              <a:ext uri="{FF2B5EF4-FFF2-40B4-BE49-F238E27FC236}">
                <a16:creationId xmlns:a16="http://schemas.microsoft.com/office/drawing/2014/main" id="{7ABEC17B-BB1B-8068-882B-47E1D000861A}"/>
              </a:ext>
            </a:extLst>
          </p:cNvPr>
          <p:cNvPicPr>
            <a:picLocks noChangeAspect="1"/>
          </p:cNvPicPr>
          <p:nvPr/>
        </p:nvPicPr>
        <p:blipFill>
          <a:blip r:embed="rId20" cstate="screen">
            <a:duotone>
              <a:schemeClr val="accent1">
                <a:shade val="45000"/>
                <a:satMod val="135000"/>
              </a:schemeClr>
              <a:prstClr val="white"/>
            </a:duotone>
            <a:extLst>
              <a:ext uri="{BEBA8EAE-BF5A-486C-A8C5-ECC9F3942E4B}">
                <a14:imgProps xmlns:a14="http://schemas.microsoft.com/office/drawing/2010/main">
                  <a14:imgLayer r:embed="rId21">
                    <a14:imgEffect>
                      <a14:brightnessContrast contrast="-30000"/>
                    </a14:imgEffect>
                  </a14:imgLayer>
                </a14:imgProps>
              </a:ext>
              <a:ext uri="{28A0092B-C50C-407E-A947-70E740481C1C}">
                <a14:useLocalDpi xmlns:a14="http://schemas.microsoft.com/office/drawing/2010/main"/>
              </a:ext>
            </a:extLst>
          </a:blip>
          <a:srcRect/>
          <a:stretch>
            <a:fillRect/>
          </a:stretch>
        </p:blipFill>
        <p:spPr bwMode="auto">
          <a:xfrm>
            <a:off x="6331485" y="5209311"/>
            <a:ext cx="427179" cy="4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object 18">
            <a:extLst>
              <a:ext uri="{FF2B5EF4-FFF2-40B4-BE49-F238E27FC236}">
                <a16:creationId xmlns:a16="http://schemas.microsoft.com/office/drawing/2014/main" id="{04639481-BD0E-65C8-644D-0F213F8E9336}"/>
              </a:ext>
            </a:extLst>
          </p:cNvPr>
          <p:cNvSpPr txBox="1">
            <a:spLocks/>
          </p:cNvSpPr>
          <p:nvPr/>
        </p:nvSpPr>
        <p:spPr>
          <a:xfrm>
            <a:off x="605395" y="5281067"/>
            <a:ext cx="2618501" cy="258404"/>
          </a:xfrm>
          <a:prstGeom prst="rect">
            <a:avLst/>
          </a:prstGeom>
        </p:spPr>
        <p:txBody>
          <a:bodyPr vert="horz" wrap="square" lIns="0" tIns="12065" rIns="0" bIns="0" rtlCol="0">
            <a:spAutoFit/>
          </a:bodyPr>
          <a:lstStyle/>
          <a:p>
            <a:pPr marL="621665" marR="0" lvl="0" indent="0" algn="l" defTabSz="914400" rtl="0" eaLnBrk="1" fontAlgn="auto" latinLnBrk="0" hangingPunct="1">
              <a:lnSpc>
                <a:spcPct val="100000"/>
              </a:lnSpc>
              <a:spcBef>
                <a:spcPts val="95"/>
              </a:spcBef>
              <a:spcAft>
                <a:spcPts val="0"/>
              </a:spcAft>
              <a:buClrTx/>
              <a:buSzTx/>
              <a:buFontTx/>
              <a:buNone/>
              <a:tabLst/>
              <a:defRPr/>
            </a:pPr>
            <a:r>
              <a:rPr kumimoji="0" lang="en-GB" sz="1600" b="1" i="0" u="none" strike="noStrike" kern="1200" cap="none" spc="-10" normalizeH="0" baseline="0" noProof="0">
                <a:ln>
                  <a:noFill/>
                </a:ln>
                <a:solidFill>
                  <a:srgbClr val="1C2C3C"/>
                </a:solidFill>
                <a:effectLst/>
                <a:uLnTx/>
                <a:uFillTx/>
                <a:latin typeface="Arial"/>
                <a:ea typeface="+mn-ea"/>
                <a:cs typeface="Arial"/>
              </a:rPr>
              <a:t>Data</a:t>
            </a:r>
            <a:r>
              <a:rPr kumimoji="0" lang="en-GB" sz="1600" b="1" i="0" u="none" strike="noStrike" kern="1200" cap="none" spc="0" normalizeH="0" baseline="0" noProof="0">
                <a:ln>
                  <a:noFill/>
                </a:ln>
                <a:solidFill>
                  <a:srgbClr val="1C2C3C"/>
                </a:solidFill>
                <a:effectLst/>
                <a:uLnTx/>
                <a:uFillTx/>
                <a:latin typeface="Arial"/>
                <a:ea typeface="+mn-ea"/>
                <a:cs typeface="Arial"/>
              </a:rPr>
              <a:t> </a:t>
            </a:r>
            <a:r>
              <a:rPr kumimoji="0" lang="en-GB" sz="1600" b="1" i="0" u="none" strike="noStrike" kern="1200" cap="none" spc="-10" normalizeH="0" baseline="0" noProof="0" err="1">
                <a:ln>
                  <a:noFill/>
                </a:ln>
                <a:solidFill>
                  <a:srgbClr val="1C2C3C"/>
                </a:solidFill>
                <a:effectLst/>
                <a:uLnTx/>
                <a:uFillTx/>
                <a:latin typeface="Arial"/>
                <a:ea typeface="+mn-ea"/>
                <a:cs typeface="Arial"/>
              </a:rPr>
              <a:t>Centers</a:t>
            </a:r>
            <a:endParaRPr kumimoji="0" lang="en-GB" sz="1600" b="1" i="0" u="none" strike="noStrike" kern="1200" cap="none" spc="0" normalizeH="0" baseline="0" noProof="0">
              <a:ln>
                <a:noFill/>
              </a:ln>
              <a:solidFill>
                <a:srgbClr val="1C2C3C"/>
              </a:solidFill>
              <a:effectLst/>
              <a:uLnTx/>
              <a:uFillTx/>
              <a:latin typeface="Arial"/>
              <a:ea typeface="+mn-ea"/>
              <a:cs typeface="Arial"/>
            </a:endParaRPr>
          </a:p>
        </p:txBody>
      </p:sp>
      <p:sp>
        <p:nvSpPr>
          <p:cNvPr id="33" name="object 22">
            <a:extLst>
              <a:ext uri="{FF2B5EF4-FFF2-40B4-BE49-F238E27FC236}">
                <a16:creationId xmlns:a16="http://schemas.microsoft.com/office/drawing/2014/main" id="{0F007DAA-D7F7-022A-9985-FB5A2351954D}"/>
              </a:ext>
            </a:extLst>
          </p:cNvPr>
          <p:cNvSpPr txBox="1">
            <a:spLocks/>
          </p:cNvSpPr>
          <p:nvPr/>
        </p:nvSpPr>
        <p:spPr>
          <a:xfrm>
            <a:off x="3185149" y="5281067"/>
            <a:ext cx="2628900" cy="258404"/>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lang="en-GB" sz="1600" b="1" i="0" u="none" strike="noStrike" kern="1200" cap="none" spc="-5" normalizeH="0" baseline="0" noProof="0">
                <a:ln>
                  <a:noFill/>
                </a:ln>
                <a:solidFill>
                  <a:srgbClr val="1C2C3C"/>
                </a:solidFill>
                <a:effectLst/>
                <a:uLnTx/>
                <a:uFillTx/>
                <a:latin typeface="Arial"/>
                <a:ea typeface="+mn-ea"/>
                <a:cs typeface="Arial"/>
              </a:rPr>
              <a:t>Fiber</a:t>
            </a:r>
            <a:endParaRPr kumimoji="0" lang="en-GB" sz="1600" b="1" i="0" u="none" strike="noStrike" kern="1200" cap="none" spc="0" normalizeH="0" baseline="0" noProof="0">
              <a:ln>
                <a:noFill/>
              </a:ln>
              <a:solidFill>
                <a:srgbClr val="1C2C3C"/>
              </a:solidFill>
              <a:effectLst/>
              <a:uLnTx/>
              <a:uFillTx/>
              <a:latin typeface="Arial"/>
              <a:ea typeface="+mn-ea"/>
              <a:cs typeface="Arial"/>
            </a:endParaRPr>
          </a:p>
        </p:txBody>
      </p:sp>
      <p:pic>
        <p:nvPicPr>
          <p:cNvPr id="34" name="Picture 32">
            <a:extLst>
              <a:ext uri="{FF2B5EF4-FFF2-40B4-BE49-F238E27FC236}">
                <a16:creationId xmlns:a16="http://schemas.microsoft.com/office/drawing/2014/main" id="{D8871B7A-3700-884F-5B50-E6971F39B819}"/>
              </a:ext>
            </a:extLst>
          </p:cNvPr>
          <p:cNvPicPr>
            <a:picLocks noChangeAspect="1"/>
          </p:cNvPicPr>
          <p:nvPr/>
        </p:nvPicPr>
        <p:blipFill>
          <a:blip r:embed="rId22" cstate="screen">
            <a:duotone>
              <a:schemeClr val="accent1">
                <a:shade val="45000"/>
                <a:satMod val="135000"/>
              </a:schemeClr>
              <a:prstClr val="white"/>
            </a:duotone>
            <a:extLst>
              <a:ext uri="{BEBA8EAE-BF5A-486C-A8C5-ECC9F3942E4B}">
                <a14:imgProps xmlns:a14="http://schemas.microsoft.com/office/drawing/2010/main">
                  <a14:imgLayer r:embed="rId23">
                    <a14:imgEffect>
                      <a14:brightnessContrast contrast="-30000"/>
                    </a14:imgEffect>
                  </a14:imgLayer>
                </a14:imgProps>
              </a:ext>
              <a:ext uri="{28A0092B-C50C-407E-A947-70E740481C1C}">
                <a14:useLocalDpi xmlns:a14="http://schemas.microsoft.com/office/drawing/2010/main"/>
              </a:ext>
            </a:extLst>
          </a:blip>
          <a:srcRect/>
          <a:stretch>
            <a:fillRect/>
          </a:stretch>
        </p:blipFill>
        <p:spPr bwMode="auto">
          <a:xfrm>
            <a:off x="3273531" y="5218605"/>
            <a:ext cx="472197" cy="383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object 11">
            <a:extLst>
              <a:ext uri="{FF2B5EF4-FFF2-40B4-BE49-F238E27FC236}">
                <a16:creationId xmlns:a16="http://schemas.microsoft.com/office/drawing/2014/main" id="{1CA5B6EC-E157-1B81-9756-28CD21E06728}"/>
              </a:ext>
            </a:extLst>
          </p:cNvPr>
          <p:cNvSpPr>
            <a:spLocks/>
          </p:cNvSpPr>
          <p:nvPr/>
        </p:nvSpPr>
        <p:spPr>
          <a:xfrm>
            <a:off x="602689" y="6042243"/>
            <a:ext cx="5220000" cy="45719"/>
          </a:xfrm>
          <a:custGeom>
            <a:avLst/>
            <a:gdLst/>
            <a:ahLst/>
            <a:cxnLst/>
            <a:rect l="l" t="t" r="r" b="b"/>
            <a:pathLst>
              <a:path w="10800715" h="71754">
                <a:moveTo>
                  <a:pt x="10800588" y="0"/>
                </a:moveTo>
                <a:lnTo>
                  <a:pt x="0" y="0"/>
                </a:lnTo>
                <a:lnTo>
                  <a:pt x="0" y="71628"/>
                </a:lnTo>
                <a:lnTo>
                  <a:pt x="10800588" y="71628"/>
                </a:lnTo>
                <a:lnTo>
                  <a:pt x="10800588" y="0"/>
                </a:lnTo>
                <a:close/>
              </a:path>
            </a:pathLst>
          </a:custGeom>
          <a:solidFill>
            <a:schemeClr val="accent1"/>
          </a:solidFill>
          <a:effectLst>
            <a:outerShdw blurRad="50800" dist="38100" dir="2700000" algn="tl" rotWithShape="0">
              <a:schemeClr val="accent1">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64657"/>
              </a:solidFill>
              <a:effectLst/>
              <a:uLnTx/>
              <a:uFillTx/>
              <a:latin typeface="Arial" panose="020B0604020202020204"/>
              <a:ea typeface="+mn-ea"/>
              <a:cs typeface="+mn-cs"/>
            </a:endParaRPr>
          </a:p>
        </p:txBody>
      </p:sp>
      <p:pic>
        <p:nvPicPr>
          <p:cNvPr id="58" name="Picture 57">
            <a:extLst>
              <a:ext uri="{FF2B5EF4-FFF2-40B4-BE49-F238E27FC236}">
                <a16:creationId xmlns:a16="http://schemas.microsoft.com/office/drawing/2014/main" id="{103F7592-EB0B-7E9D-12B9-25AF8C281CB6}"/>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l="600" t="15710" r="5095" b="2228"/>
          <a:stretch/>
        </p:blipFill>
        <p:spPr>
          <a:xfrm>
            <a:off x="3257739" y="3893651"/>
            <a:ext cx="2483721" cy="1112627"/>
          </a:xfrm>
          <a:prstGeom prst="rect">
            <a:avLst/>
          </a:prstGeom>
        </p:spPr>
      </p:pic>
      <p:pic>
        <p:nvPicPr>
          <p:cNvPr id="6" name="Picture 5">
            <a:extLst>
              <a:ext uri="{FF2B5EF4-FFF2-40B4-BE49-F238E27FC236}">
                <a16:creationId xmlns:a16="http://schemas.microsoft.com/office/drawing/2014/main" id="{4B24EEA4-764B-20DA-8F73-1A4788D6510A}"/>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685869" y="3893651"/>
            <a:ext cx="2458800" cy="1112400"/>
          </a:xfrm>
          <a:prstGeom prst="rect">
            <a:avLst/>
          </a:prstGeom>
        </p:spPr>
      </p:pic>
      <p:pic>
        <p:nvPicPr>
          <p:cNvPr id="9" name="Picture 8">
            <a:extLst>
              <a:ext uri="{FF2B5EF4-FFF2-40B4-BE49-F238E27FC236}">
                <a16:creationId xmlns:a16="http://schemas.microsoft.com/office/drawing/2014/main" id="{926029D3-9031-E9EC-F119-CF49772C3DB4}"/>
              </a:ext>
            </a:extLst>
          </p:cNvPr>
          <p:cNvPicPr>
            <a:picLocks noChangeAspect="1"/>
          </p:cNvPicPr>
          <p:nvPr/>
        </p:nvPicPr>
        <p:blipFill rotWithShape="1">
          <a:blip r:embed="rId26" cstate="screen">
            <a:extLst>
              <a:ext uri="{28A0092B-C50C-407E-A947-70E740481C1C}">
                <a14:useLocalDpi xmlns:a14="http://schemas.microsoft.com/office/drawing/2010/main"/>
              </a:ext>
            </a:extLst>
          </a:blip>
          <a:srcRect l="8406" t="19050" r="4140" b="21529"/>
          <a:stretch/>
        </p:blipFill>
        <p:spPr>
          <a:xfrm>
            <a:off x="6145561" y="3893651"/>
            <a:ext cx="2458800" cy="1112400"/>
          </a:xfrm>
          <a:prstGeom prst="rect">
            <a:avLst/>
          </a:prstGeom>
        </p:spPr>
      </p:pic>
      <p:sp>
        <p:nvSpPr>
          <p:cNvPr id="11" name="object 22">
            <a:extLst>
              <a:ext uri="{FF2B5EF4-FFF2-40B4-BE49-F238E27FC236}">
                <a16:creationId xmlns:a16="http://schemas.microsoft.com/office/drawing/2014/main" id="{74BF9C8C-ECDF-5735-F21D-B03E4FC311D4}"/>
              </a:ext>
            </a:extLst>
          </p:cNvPr>
          <p:cNvSpPr txBox="1">
            <a:spLocks/>
          </p:cNvSpPr>
          <p:nvPr/>
        </p:nvSpPr>
        <p:spPr>
          <a:xfrm>
            <a:off x="6064203" y="5281067"/>
            <a:ext cx="2628900" cy="258404"/>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lang="en-GB" sz="1600" b="1" i="0" u="none" strike="noStrike" kern="1200" cap="none" spc="-5" normalizeH="0" baseline="0" noProof="0">
                <a:ln>
                  <a:noFill/>
                </a:ln>
                <a:solidFill>
                  <a:srgbClr val="1C2C3C"/>
                </a:solidFill>
                <a:effectLst/>
                <a:uLnTx/>
                <a:uFillTx/>
                <a:latin typeface="Arial"/>
                <a:ea typeface="+mn-ea"/>
                <a:cs typeface="Arial"/>
              </a:rPr>
              <a:t>Logistics</a:t>
            </a:r>
            <a:endParaRPr kumimoji="0" lang="en-GB" sz="1600" b="1" i="0" u="none" strike="noStrike" kern="1200" cap="none" spc="0" normalizeH="0" baseline="0" noProof="0">
              <a:ln>
                <a:noFill/>
              </a:ln>
              <a:solidFill>
                <a:srgbClr val="1C2C3C"/>
              </a:solidFill>
              <a:effectLst/>
              <a:uLnTx/>
              <a:uFillTx/>
              <a:latin typeface="Arial"/>
              <a:ea typeface="+mn-ea"/>
              <a:cs typeface="Arial"/>
            </a:endParaRPr>
          </a:p>
        </p:txBody>
      </p:sp>
      <p:grpSp>
        <p:nvGrpSpPr>
          <p:cNvPr id="18" name="Group 17">
            <a:extLst>
              <a:ext uri="{FF2B5EF4-FFF2-40B4-BE49-F238E27FC236}">
                <a16:creationId xmlns:a16="http://schemas.microsoft.com/office/drawing/2014/main" id="{882C23B3-0AAC-10E4-2CD4-77026D9DCCCE}"/>
              </a:ext>
            </a:extLst>
          </p:cNvPr>
          <p:cNvGrpSpPr>
            <a:grpSpLocks/>
          </p:cNvGrpSpPr>
          <p:nvPr/>
        </p:nvGrpSpPr>
        <p:grpSpPr>
          <a:xfrm>
            <a:off x="6297699" y="2078403"/>
            <a:ext cx="2154524" cy="1343129"/>
            <a:chOff x="4018457" y="1893081"/>
            <a:chExt cx="1436349" cy="895419"/>
          </a:xfrm>
        </p:grpSpPr>
        <p:sp>
          <p:nvSpPr>
            <p:cNvPr id="26" name="object 18">
              <a:extLst>
                <a:ext uri="{FF2B5EF4-FFF2-40B4-BE49-F238E27FC236}">
                  <a16:creationId xmlns:a16="http://schemas.microsoft.com/office/drawing/2014/main" id="{B7BF48A4-F78B-EAF9-B720-BD034D32D099}"/>
                </a:ext>
              </a:extLst>
            </p:cNvPr>
            <p:cNvSpPr txBox="1">
              <a:spLocks/>
            </p:cNvSpPr>
            <p:nvPr/>
          </p:nvSpPr>
          <p:spPr>
            <a:xfrm>
              <a:off x="4018457" y="2411046"/>
              <a:ext cx="1436349" cy="377454"/>
            </a:xfrm>
            <a:prstGeom prst="rect">
              <a:avLst/>
            </a:prstGeom>
          </p:spPr>
          <p:txBody>
            <a:bodyPr vert="horz" wrap="square" lIns="0" tIns="12065" rIns="0" bIns="0" rtlCol="0">
              <a:spAutoFit/>
            </a:bodyPr>
            <a:lstStyle/>
            <a:p>
              <a:pPr marL="92075" marR="0" lvl="0" indent="0" algn="ctr" defTabSz="914400" rtl="0" eaLnBrk="1" fontAlgn="auto" latinLnBrk="0" hangingPunct="1">
                <a:lnSpc>
                  <a:spcPct val="100000"/>
                </a:lnSpc>
                <a:spcBef>
                  <a:spcPts val="95"/>
                </a:spcBef>
                <a:spcAft>
                  <a:spcPts val="0"/>
                </a:spcAft>
                <a:buClrTx/>
                <a:buSzTx/>
                <a:buFontTx/>
                <a:buNone/>
                <a:tabLst/>
                <a:defRPr/>
              </a:pPr>
              <a:r>
                <a:rPr kumimoji="0" lang="en-GB" sz="1800" b="1" i="0" u="none" strike="noStrike" kern="1200" cap="none" spc="-10" normalizeH="0" baseline="0" noProof="0">
                  <a:ln>
                    <a:noFill/>
                  </a:ln>
                  <a:solidFill>
                    <a:srgbClr val="00A89F"/>
                  </a:solidFill>
                  <a:effectLst/>
                  <a:uLnTx/>
                  <a:uFillTx/>
                  <a:latin typeface="Arial"/>
                  <a:ea typeface="+mn-ea"/>
                  <a:cs typeface="Arial"/>
                </a:rPr>
                <a:t>Bulk Industrial Real Estate</a:t>
              </a:r>
              <a:endParaRPr kumimoji="0" lang="en-GB" sz="1100" b="1" i="0" u="none" strike="noStrike" kern="1200" cap="none" spc="-10" normalizeH="0" baseline="0" noProof="0">
                <a:ln>
                  <a:noFill/>
                </a:ln>
                <a:solidFill>
                  <a:srgbClr val="00A89F"/>
                </a:solidFill>
                <a:effectLst/>
                <a:uLnTx/>
                <a:uFillTx/>
                <a:latin typeface="Arial"/>
                <a:ea typeface="+mn-ea"/>
                <a:cs typeface="Arial"/>
              </a:endParaRPr>
            </a:p>
          </p:txBody>
        </p:sp>
        <p:pic>
          <p:nvPicPr>
            <p:cNvPr id="32" name="Picture 2">
              <a:extLst>
                <a:ext uri="{FF2B5EF4-FFF2-40B4-BE49-F238E27FC236}">
                  <a16:creationId xmlns:a16="http://schemas.microsoft.com/office/drawing/2014/main" id="{81564A48-28C4-EFFB-78BE-7116A248406F}"/>
                </a:ext>
              </a:extLst>
            </p:cNvPr>
            <p:cNvPicPr>
              <a:picLocks noChangeAspect="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4117731" y="1893081"/>
              <a:ext cx="1237801" cy="454021"/>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34">
            <a:extLst>
              <a:ext uri="{FF2B5EF4-FFF2-40B4-BE49-F238E27FC236}">
                <a16:creationId xmlns:a16="http://schemas.microsoft.com/office/drawing/2014/main" id="{A9435937-0D9A-04D2-ED14-14A32DF9BCA9}"/>
              </a:ext>
            </a:extLst>
          </p:cNvPr>
          <p:cNvPicPr>
            <a:picLocks noChangeAspect="1"/>
          </p:cNvPicPr>
          <p:nvPr/>
        </p:nvPicPr>
        <p:blipFill>
          <a:blip r:embed="rId27" cstate="screen">
            <a:duotone>
              <a:schemeClr val="accent1">
                <a:shade val="45000"/>
                <a:satMod val="135000"/>
              </a:schemeClr>
              <a:prstClr val="white"/>
            </a:duotone>
            <a:extLst>
              <a:ext uri="{BEBA8EAE-BF5A-486C-A8C5-ECC9F3942E4B}">
                <a14:imgProps xmlns:a14="http://schemas.microsoft.com/office/drawing/2010/main">
                  <a14:imgLayer r:embed="rId28">
                    <a14:imgEffect>
                      <a14:sharpenSoften amount="5000"/>
                    </a14:imgEffect>
                    <a14:imgEffect>
                      <a14:brightnessContrast contrast="-30000"/>
                    </a14:imgEffect>
                  </a14:imgLayer>
                </a14:imgProps>
              </a:ext>
              <a:ext uri="{28A0092B-C50C-407E-A947-70E740481C1C}">
                <a14:useLocalDpi xmlns:a14="http://schemas.microsoft.com/office/drawing/2010/main"/>
              </a:ext>
            </a:extLst>
          </a:blip>
          <a:srcRect/>
          <a:stretch>
            <a:fillRect/>
          </a:stretch>
        </p:blipFill>
        <p:spPr bwMode="auto">
          <a:xfrm>
            <a:off x="718465" y="5218605"/>
            <a:ext cx="387891" cy="383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4446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3A5C6-B594-D101-3D39-3F64E7F271A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E32FFA-AFB0-F033-C899-CFC9EBABB2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9" name="think-cell data - do not delete" hidden="1">
                        <a:extLst>
                          <a:ext uri="{FF2B5EF4-FFF2-40B4-BE49-F238E27FC236}">
                            <a16:creationId xmlns:a16="http://schemas.microsoft.com/office/drawing/2014/main" id="{E9E32FFA-AFB0-F033-C899-CFC9EBABB2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Bilde 13" descr="Et bilde som inneholder kart, grafisk design, kunst&#10;&#10;Automatisk generert beskrivelse">
            <a:extLst>
              <a:ext uri="{FF2B5EF4-FFF2-40B4-BE49-F238E27FC236}">
                <a16:creationId xmlns:a16="http://schemas.microsoft.com/office/drawing/2014/main" id="{5B857C92-8CD9-FC9F-6B62-CA902C702F63}"/>
              </a:ext>
            </a:extLst>
          </p:cNvPr>
          <p:cNvPicPr>
            <a:picLocks noChangeAspect="1"/>
          </p:cNvPicPr>
          <p:nvPr/>
        </p:nvPicPr>
        <p:blipFill rotWithShape="1">
          <a:blip r:embed="rId5"/>
          <a:srcRect l="34346" t="39084" r="197"/>
          <a:stretch/>
        </p:blipFill>
        <p:spPr>
          <a:xfrm>
            <a:off x="-150681" y="1"/>
            <a:ext cx="12342681" cy="6891906"/>
          </a:xfrm>
          <a:prstGeom prst="rect">
            <a:avLst/>
          </a:prstGeom>
          <a:noFill/>
        </p:spPr>
      </p:pic>
      <p:sp>
        <p:nvSpPr>
          <p:cNvPr id="37" name="Rectangle 36">
            <a:extLst>
              <a:ext uri="{FF2B5EF4-FFF2-40B4-BE49-F238E27FC236}">
                <a16:creationId xmlns:a16="http://schemas.microsoft.com/office/drawing/2014/main" id="{1F4A7140-4C45-08EE-CA6C-5CA820037225}"/>
              </a:ext>
            </a:extLst>
          </p:cNvPr>
          <p:cNvSpPr/>
          <p:nvPr/>
        </p:nvSpPr>
        <p:spPr>
          <a:xfrm>
            <a:off x="600075" y="987072"/>
            <a:ext cx="1896264" cy="5436971"/>
          </a:xfrm>
          <a:prstGeom prst="rect">
            <a:avLst/>
          </a:prstGeom>
          <a:solidFill>
            <a:schemeClr val="bg1">
              <a:alpha val="2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 name="Plassholder for lysbildenummer 3" hidden="1">
            <a:extLst>
              <a:ext uri="{FF2B5EF4-FFF2-40B4-BE49-F238E27FC236}">
                <a16:creationId xmlns:a16="http://schemas.microsoft.com/office/drawing/2014/main" id="{56C6EF71-FF05-0838-A332-C170F852CB5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5178CA60-5DD9-46C2-8762-198E42C6AAC7}" type="slidenum">
              <a:rPr kumimoji="0" lang="en-US"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7</a:t>
            </a:fld>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59D3856A-21BE-FCB1-CA5C-425382E53AF9}"/>
              </a:ext>
            </a:extLst>
          </p:cNvPr>
          <p:cNvSpPr>
            <a:spLocks noGrp="1"/>
          </p:cNvSpPr>
          <p:nvPr>
            <p:ph type="title"/>
          </p:nvPr>
        </p:nvSpPr>
        <p:spPr>
          <a:xfrm>
            <a:off x="600075" y="409575"/>
            <a:ext cx="10493375" cy="481013"/>
          </a:xfrm>
          <a:noFill/>
        </p:spPr>
        <p:txBody>
          <a:bodyPr vert="horz"/>
          <a:lstStyle/>
          <a:p>
            <a:r>
              <a:rPr lang="en-GB" b="0" dirty="0">
                <a:solidFill>
                  <a:schemeClr val="bg1"/>
                </a:solidFill>
              </a:rPr>
              <a:t>Bulk’s digital infrastructure platform</a:t>
            </a:r>
            <a:endParaRPr lang="en-GB" dirty="0">
              <a:solidFill>
                <a:schemeClr val="bg1"/>
              </a:solidFill>
            </a:endParaRPr>
          </a:p>
        </p:txBody>
      </p:sp>
      <p:grpSp>
        <p:nvGrpSpPr>
          <p:cNvPr id="28" name="Group 27">
            <a:extLst>
              <a:ext uri="{FF2B5EF4-FFF2-40B4-BE49-F238E27FC236}">
                <a16:creationId xmlns:a16="http://schemas.microsoft.com/office/drawing/2014/main" id="{42A8F442-C97C-7C1B-CFE7-836344BBFF2B}"/>
              </a:ext>
            </a:extLst>
          </p:cNvPr>
          <p:cNvGrpSpPr/>
          <p:nvPr/>
        </p:nvGrpSpPr>
        <p:grpSpPr>
          <a:xfrm>
            <a:off x="9723195" y="5162371"/>
            <a:ext cx="2230330" cy="1570655"/>
            <a:chOff x="709203" y="4375943"/>
            <a:chExt cx="2556001" cy="1800001"/>
          </a:xfrm>
        </p:grpSpPr>
        <p:pic>
          <p:nvPicPr>
            <p:cNvPr id="15" name="Picture 14">
              <a:extLst>
                <a:ext uri="{FF2B5EF4-FFF2-40B4-BE49-F238E27FC236}">
                  <a16:creationId xmlns:a16="http://schemas.microsoft.com/office/drawing/2014/main" id="{0CD97091-05E3-9E43-E346-4105EFA893BC}"/>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r="110"/>
            <a:stretch/>
          </p:blipFill>
          <p:spPr>
            <a:xfrm>
              <a:off x="709204" y="4375944"/>
              <a:ext cx="2556000" cy="1800000"/>
            </a:xfrm>
            <a:prstGeom prst="rect">
              <a:avLst/>
            </a:prstGeom>
            <a:ln w="12700">
              <a:solidFill>
                <a:schemeClr val="bg1"/>
              </a:solidFill>
            </a:ln>
            <a:effectLst>
              <a:outerShdw blurRad="63500" sx="102000" sy="102000" algn="ctr" rotWithShape="0">
                <a:prstClr val="black">
                  <a:alpha val="40000"/>
                </a:prstClr>
              </a:outerShdw>
            </a:effectLst>
          </p:spPr>
        </p:pic>
        <p:sp>
          <p:nvSpPr>
            <p:cNvPr id="16" name="Rectangle 15">
              <a:extLst>
                <a:ext uri="{FF2B5EF4-FFF2-40B4-BE49-F238E27FC236}">
                  <a16:creationId xmlns:a16="http://schemas.microsoft.com/office/drawing/2014/main" id="{72FD4E5D-76C8-13C2-21FF-2FC20EFBD58C}"/>
                </a:ext>
              </a:extLst>
            </p:cNvPr>
            <p:cNvSpPr/>
            <p:nvPr/>
          </p:nvSpPr>
          <p:spPr>
            <a:xfrm>
              <a:off x="709203" y="4375943"/>
              <a:ext cx="2556000" cy="288797"/>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rial" panose="020B0604020202020204"/>
                  <a:ea typeface="+mn-ea"/>
                  <a:cs typeface="+mn-cs"/>
                </a:rPr>
                <a:t>DK01 Campus (Esbjerg) </a:t>
              </a:r>
            </a:p>
          </p:txBody>
        </p:sp>
      </p:grpSp>
      <p:grpSp>
        <p:nvGrpSpPr>
          <p:cNvPr id="29" name="Group 28">
            <a:extLst>
              <a:ext uri="{FF2B5EF4-FFF2-40B4-BE49-F238E27FC236}">
                <a16:creationId xmlns:a16="http://schemas.microsoft.com/office/drawing/2014/main" id="{3983B4BC-985E-7785-75FA-972AA8452B83}"/>
              </a:ext>
            </a:extLst>
          </p:cNvPr>
          <p:cNvGrpSpPr/>
          <p:nvPr/>
        </p:nvGrpSpPr>
        <p:grpSpPr>
          <a:xfrm>
            <a:off x="9723197" y="1353573"/>
            <a:ext cx="2230328" cy="1570655"/>
            <a:chOff x="709203" y="1454150"/>
            <a:chExt cx="2556000" cy="1800001"/>
          </a:xfrm>
        </p:grpSpPr>
        <p:pic>
          <p:nvPicPr>
            <p:cNvPr id="19" name="Picture 18">
              <a:extLst>
                <a:ext uri="{FF2B5EF4-FFF2-40B4-BE49-F238E27FC236}">
                  <a16:creationId xmlns:a16="http://schemas.microsoft.com/office/drawing/2014/main" id="{147AB584-FAD7-99AF-2299-9EC092D6A0BB}"/>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brightnessContrast bright="-12000"/>
                      </a14:imgEffect>
                    </a14:imgLayer>
                  </a14:imgProps>
                </a:ext>
                <a:ext uri="{28A0092B-C50C-407E-A947-70E740481C1C}">
                  <a14:useLocalDpi xmlns:a14="http://schemas.microsoft.com/office/drawing/2010/main"/>
                </a:ext>
              </a:extLst>
            </a:blip>
            <a:srcRect/>
            <a:stretch/>
          </p:blipFill>
          <p:spPr>
            <a:xfrm>
              <a:off x="709203" y="1454151"/>
              <a:ext cx="2554054" cy="1800000"/>
            </a:xfrm>
            <a:prstGeom prst="rect">
              <a:avLst/>
            </a:prstGeom>
            <a:ln w="12700">
              <a:solidFill>
                <a:schemeClr val="bg1"/>
              </a:solidFill>
            </a:ln>
            <a:effectLst>
              <a:outerShdw blurRad="63500" sx="102000" sy="102000" algn="ctr" rotWithShape="0">
                <a:prstClr val="black">
                  <a:alpha val="40000"/>
                </a:prstClr>
              </a:outerShdw>
            </a:effectLst>
          </p:spPr>
        </p:pic>
        <p:sp>
          <p:nvSpPr>
            <p:cNvPr id="20" name="Rectangle 19">
              <a:extLst>
                <a:ext uri="{FF2B5EF4-FFF2-40B4-BE49-F238E27FC236}">
                  <a16:creationId xmlns:a16="http://schemas.microsoft.com/office/drawing/2014/main" id="{B0F210F2-C6E6-6524-0402-3EC7C8A23A38}"/>
                </a:ext>
              </a:extLst>
            </p:cNvPr>
            <p:cNvSpPr/>
            <p:nvPr/>
          </p:nvSpPr>
          <p:spPr>
            <a:xfrm>
              <a:off x="709203" y="1454150"/>
              <a:ext cx="2556000" cy="288797"/>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rial" panose="020B0604020202020204"/>
                  <a:ea typeface="+mn-ea"/>
                  <a:cs typeface="+mn-cs"/>
                </a:rPr>
                <a:t>Oslo Internet Exchange (OS-IX) </a:t>
              </a:r>
            </a:p>
          </p:txBody>
        </p:sp>
      </p:grpSp>
      <p:grpSp>
        <p:nvGrpSpPr>
          <p:cNvPr id="30" name="Group 29">
            <a:extLst>
              <a:ext uri="{FF2B5EF4-FFF2-40B4-BE49-F238E27FC236}">
                <a16:creationId xmlns:a16="http://schemas.microsoft.com/office/drawing/2014/main" id="{676BCA01-AED3-FE2C-C929-0A3B1F727619}"/>
              </a:ext>
            </a:extLst>
          </p:cNvPr>
          <p:cNvGrpSpPr/>
          <p:nvPr/>
        </p:nvGrpSpPr>
        <p:grpSpPr>
          <a:xfrm>
            <a:off x="9723197" y="3292593"/>
            <a:ext cx="2230328" cy="1570654"/>
            <a:chOff x="3830258" y="2233044"/>
            <a:chExt cx="2556000" cy="1800000"/>
          </a:xfrm>
        </p:grpSpPr>
        <p:pic>
          <p:nvPicPr>
            <p:cNvPr id="24" name="Picture 23">
              <a:extLst>
                <a:ext uri="{FF2B5EF4-FFF2-40B4-BE49-F238E27FC236}">
                  <a16:creationId xmlns:a16="http://schemas.microsoft.com/office/drawing/2014/main" id="{683DF1E5-15F3-3D57-BEF4-8204B82C38F2}"/>
                </a:ext>
              </a:extLst>
            </p:cNvPr>
            <p:cNvPicPr>
              <a:picLocks noChangeAspect="1"/>
            </p:cNvPicPr>
            <p:nvPr/>
          </p:nvPicPr>
          <p:blipFill rotWithShape="1">
            <a:blip r:embed="rId10" cstate="screen">
              <a:extLst>
                <a:ext uri="{BEBA8EAE-BF5A-486C-A8C5-ECC9F3942E4B}">
                  <a14:imgProps xmlns:a14="http://schemas.microsoft.com/office/drawing/2010/main">
                    <a14:imgLayer r:embed="rId11">
                      <a14:imgEffect>
                        <a14:brightnessContrast bright="12000"/>
                      </a14:imgEffect>
                    </a14:imgLayer>
                  </a14:imgProps>
                </a:ext>
                <a:ext uri="{28A0092B-C50C-407E-A947-70E740481C1C}">
                  <a14:useLocalDpi xmlns:a14="http://schemas.microsoft.com/office/drawing/2010/main"/>
                </a:ext>
              </a:extLst>
            </a:blip>
            <a:srcRect l="22103" t="-213" r="16740" b="18559"/>
            <a:stretch/>
          </p:blipFill>
          <p:spPr>
            <a:xfrm>
              <a:off x="3830258" y="2233044"/>
              <a:ext cx="2556000" cy="1800000"/>
            </a:xfrm>
            <a:prstGeom prst="rect">
              <a:avLst/>
            </a:prstGeom>
            <a:ln w="12700">
              <a:solidFill>
                <a:schemeClr val="bg1"/>
              </a:solidFill>
            </a:ln>
            <a:effectLst>
              <a:outerShdw blurRad="63500" sx="102000" sy="102000" algn="ctr" rotWithShape="0">
                <a:prstClr val="black">
                  <a:alpha val="40000"/>
                </a:prstClr>
              </a:outerShdw>
            </a:effectLst>
          </p:spPr>
        </p:pic>
        <p:sp>
          <p:nvSpPr>
            <p:cNvPr id="25" name="Rectangle 24">
              <a:extLst>
                <a:ext uri="{FF2B5EF4-FFF2-40B4-BE49-F238E27FC236}">
                  <a16:creationId xmlns:a16="http://schemas.microsoft.com/office/drawing/2014/main" id="{CE01473A-DC52-A419-2BCD-10A77DE9D456}"/>
                </a:ext>
              </a:extLst>
            </p:cNvPr>
            <p:cNvSpPr/>
            <p:nvPr/>
          </p:nvSpPr>
          <p:spPr>
            <a:xfrm>
              <a:off x="3830258" y="2233044"/>
              <a:ext cx="2556000" cy="288797"/>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rial" panose="020B0604020202020204"/>
                  <a:ea typeface="+mn-ea"/>
                  <a:cs typeface="+mn-cs"/>
                </a:rPr>
                <a:t>N01 Campus (Kristiansand)</a:t>
              </a:r>
            </a:p>
          </p:txBody>
        </p:sp>
      </p:grpSp>
      <p:cxnSp>
        <p:nvCxnSpPr>
          <p:cNvPr id="44" name="Connector: Elbow 43">
            <a:extLst>
              <a:ext uri="{FF2B5EF4-FFF2-40B4-BE49-F238E27FC236}">
                <a16:creationId xmlns:a16="http://schemas.microsoft.com/office/drawing/2014/main" id="{886FA4D8-A7AB-A268-1FEC-B8ADA2094D78}"/>
              </a:ext>
            </a:extLst>
          </p:cNvPr>
          <p:cNvCxnSpPr>
            <a:cxnSpLocks/>
            <a:stCxn id="19" idx="1"/>
          </p:cNvCxnSpPr>
          <p:nvPr/>
        </p:nvCxnSpPr>
        <p:spPr>
          <a:xfrm rot="10800000" flipV="1">
            <a:off x="7740467" y="2138900"/>
            <a:ext cx="1982730" cy="771037"/>
          </a:xfrm>
          <a:prstGeom prst="bentConnector3">
            <a:avLst>
              <a:gd name="adj1" fmla="val 50000"/>
            </a:avLst>
          </a:prstGeom>
          <a:ln w="19050">
            <a:solidFill>
              <a:srgbClr val="F15C25"/>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7340B8B0-5626-B78C-C969-F35E038AA841}"/>
              </a:ext>
            </a:extLst>
          </p:cNvPr>
          <p:cNvCxnSpPr>
            <a:cxnSpLocks/>
            <a:stCxn id="24" idx="1"/>
          </p:cNvCxnSpPr>
          <p:nvPr/>
        </p:nvCxnSpPr>
        <p:spPr>
          <a:xfrm rot="10800000">
            <a:off x="7225141" y="3434550"/>
            <a:ext cx="2498056" cy="643371"/>
          </a:xfrm>
          <a:prstGeom prst="bentConnector3">
            <a:avLst>
              <a:gd name="adj1" fmla="val 43493"/>
            </a:avLst>
          </a:prstGeom>
          <a:ln w="19050">
            <a:solidFill>
              <a:srgbClr val="F15C25"/>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E8724A53-40BC-0B69-6A94-61EA39C228F7}"/>
              </a:ext>
            </a:extLst>
          </p:cNvPr>
          <p:cNvCxnSpPr>
            <a:cxnSpLocks/>
            <a:stCxn id="33" idx="4"/>
            <a:endCxn id="15" idx="1"/>
          </p:cNvCxnSpPr>
          <p:nvPr/>
        </p:nvCxnSpPr>
        <p:spPr>
          <a:xfrm rot="16200000" flipH="1">
            <a:off x="7688851" y="3913353"/>
            <a:ext cx="1343499" cy="2725191"/>
          </a:xfrm>
          <a:prstGeom prst="bentConnector2">
            <a:avLst/>
          </a:prstGeom>
          <a:ln w="19050">
            <a:solidFill>
              <a:srgbClr val="F15C25"/>
            </a:solidFill>
            <a:prstDash val="sysDot"/>
          </a:ln>
          <a:effectLst/>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DEE5EB5-7667-FD3F-F100-CC74AC004E06}"/>
              </a:ext>
            </a:extLst>
          </p:cNvPr>
          <p:cNvSpPr/>
          <p:nvPr/>
        </p:nvSpPr>
        <p:spPr>
          <a:xfrm>
            <a:off x="695895" y="1240366"/>
            <a:ext cx="1704625" cy="649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200</a:t>
            </a:r>
            <a:b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b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employees*</a:t>
            </a:r>
          </a:p>
        </p:txBody>
      </p:sp>
      <p:sp>
        <p:nvSpPr>
          <p:cNvPr id="11" name="Rectangle 10">
            <a:extLst>
              <a:ext uri="{FF2B5EF4-FFF2-40B4-BE49-F238E27FC236}">
                <a16:creationId xmlns:a16="http://schemas.microsoft.com/office/drawing/2014/main" id="{E62863AD-4067-B810-EEF7-A6F11F029053}"/>
              </a:ext>
            </a:extLst>
          </p:cNvPr>
          <p:cNvSpPr/>
          <p:nvPr/>
        </p:nvSpPr>
        <p:spPr>
          <a:xfrm>
            <a:off x="695895" y="5507781"/>
            <a:ext cx="1704625" cy="649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NOK ~1.0bn</a:t>
            </a:r>
            <a:b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b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signed ARR</a:t>
            </a:r>
          </a:p>
        </p:txBody>
      </p:sp>
      <p:sp>
        <p:nvSpPr>
          <p:cNvPr id="12" name="Rectangle 11">
            <a:extLst>
              <a:ext uri="{FF2B5EF4-FFF2-40B4-BE49-F238E27FC236}">
                <a16:creationId xmlns:a16="http://schemas.microsoft.com/office/drawing/2014/main" id="{9E804E30-1047-CF72-3B0F-23C1DE0415D0}"/>
              </a:ext>
            </a:extLst>
          </p:cNvPr>
          <p:cNvSpPr/>
          <p:nvPr/>
        </p:nvSpPr>
        <p:spPr>
          <a:xfrm>
            <a:off x="695895" y="4654298"/>
            <a:ext cx="1704625" cy="649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a:solidFill>
                  <a:prstClr val="white"/>
                </a:solidFill>
                <a:latin typeface="Arial" panose="020B0604020202020204"/>
              </a:rPr>
              <a:t>92</a:t>
            </a: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 MW</a:t>
            </a:r>
            <a:b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b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IT installed &amp; </a:t>
            </a:r>
            <a:b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b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under construction</a:t>
            </a:r>
          </a:p>
        </p:txBody>
      </p:sp>
      <p:sp>
        <p:nvSpPr>
          <p:cNvPr id="13" name="Rectangle 12">
            <a:extLst>
              <a:ext uri="{FF2B5EF4-FFF2-40B4-BE49-F238E27FC236}">
                <a16:creationId xmlns:a16="http://schemas.microsoft.com/office/drawing/2014/main" id="{3DF8B2B7-762B-C847-26F3-89284842D19E}"/>
              </a:ext>
            </a:extLst>
          </p:cNvPr>
          <p:cNvSpPr/>
          <p:nvPr/>
        </p:nvSpPr>
        <p:spPr>
          <a:xfrm>
            <a:off x="695895" y="3596686"/>
            <a:ext cx="1704625" cy="649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10’ k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err="1">
                <a:ln>
                  <a:noFill/>
                </a:ln>
                <a:solidFill>
                  <a:prstClr val="white"/>
                </a:solidFill>
                <a:effectLst/>
                <a:uLnTx/>
                <a:uFillTx/>
                <a:latin typeface="Arial" panose="020B0604020202020204"/>
                <a:ea typeface="+mn-ea"/>
                <a:cs typeface="+mn-cs"/>
              </a:rPr>
              <a:t>fiber</a:t>
            </a: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 routes</a:t>
            </a:r>
            <a:endParaRPr kumimoji="0" lang="en-GB" sz="1000" b="0" i="1" u="none" strike="noStrike" kern="1200" cap="none" spc="0" normalizeH="0" baseline="0" noProof="0">
              <a:ln>
                <a:noFill/>
              </a:ln>
              <a:solidFill>
                <a:prstClr val="white"/>
              </a:solidFill>
              <a:effectLst/>
              <a:uLnTx/>
              <a:uFillTx/>
              <a:latin typeface="Arial" panose="020B0604020202020204"/>
              <a:ea typeface="+mn-ea"/>
              <a:cs typeface="Arial"/>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inc. USA, Ireland </a:t>
            </a:r>
            <a:endParaRPr kumimoji="0" lang="en-GB" sz="1000" b="0" i="1" u="none" strike="noStrike" kern="1200" cap="none" spc="0" normalizeH="0" baseline="0" noProof="0">
              <a:ln>
                <a:noFill/>
              </a:ln>
              <a:solidFill>
                <a:prstClr val="white"/>
              </a:solidFill>
              <a:effectLst/>
              <a:uLnTx/>
              <a:uFillTx/>
              <a:latin typeface="Arial" panose="020B0604020202020204"/>
              <a:ea typeface="+mn-ea"/>
              <a:cs typeface="Arial"/>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and Denmark</a:t>
            </a:r>
            <a:endParaRPr kumimoji="0" lang="en-GB" sz="1000" b="0" i="1" u="none" strike="noStrike" kern="1200" cap="none" spc="0" normalizeH="0" baseline="0" noProof="0">
              <a:ln>
                <a:noFill/>
              </a:ln>
              <a:solidFill>
                <a:prstClr val="white"/>
              </a:solidFill>
              <a:effectLst/>
              <a:uLnTx/>
              <a:uFillTx/>
              <a:latin typeface="Arial" panose="020B0604020202020204"/>
              <a:ea typeface="+mn-ea"/>
              <a:cs typeface="Arial"/>
            </a:endParaRPr>
          </a:p>
        </p:txBody>
      </p:sp>
      <p:sp>
        <p:nvSpPr>
          <p:cNvPr id="27" name="Rectangle 26">
            <a:extLst>
              <a:ext uri="{FF2B5EF4-FFF2-40B4-BE49-F238E27FC236}">
                <a16:creationId xmlns:a16="http://schemas.microsoft.com/office/drawing/2014/main" id="{E5D64F6F-CDE1-BD58-A748-19AADD84E355}"/>
              </a:ext>
            </a:extLst>
          </p:cNvPr>
          <p:cNvSpPr/>
          <p:nvPr/>
        </p:nvSpPr>
        <p:spPr>
          <a:xfrm>
            <a:off x="695895" y="2819940"/>
            <a:ext cx="1704625" cy="649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3</a:t>
            </a:r>
            <a:b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b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data </a:t>
            </a:r>
            <a:r>
              <a:rPr kumimoji="0" lang="en-GB" sz="1000" b="0" i="1" u="none" strike="noStrike" kern="1200" cap="none" spc="0" normalizeH="0" baseline="0" noProof="0" err="1">
                <a:ln>
                  <a:noFill/>
                </a:ln>
                <a:solidFill>
                  <a:prstClr val="white"/>
                </a:solidFill>
                <a:effectLst/>
                <a:uLnTx/>
                <a:uFillTx/>
                <a:latin typeface="Arial" panose="020B0604020202020204"/>
                <a:ea typeface="+mn-ea"/>
                <a:cs typeface="+mn-cs"/>
              </a:rPr>
              <a:t>center</a:t>
            </a: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 sites</a:t>
            </a:r>
          </a:p>
        </p:txBody>
      </p:sp>
      <p:sp>
        <p:nvSpPr>
          <p:cNvPr id="31" name="Rectangle 30">
            <a:extLst>
              <a:ext uri="{FF2B5EF4-FFF2-40B4-BE49-F238E27FC236}">
                <a16:creationId xmlns:a16="http://schemas.microsoft.com/office/drawing/2014/main" id="{DC70B7C8-57EC-4CC2-49FB-2A8A9B36D926}"/>
              </a:ext>
            </a:extLst>
          </p:cNvPr>
          <p:cNvSpPr/>
          <p:nvPr/>
        </p:nvSpPr>
        <p:spPr>
          <a:xfrm>
            <a:off x="695895" y="2093849"/>
            <a:ext cx="1704625" cy="649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Oslo</a:t>
            </a:r>
            <a:b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b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headquarter</a:t>
            </a:r>
          </a:p>
        </p:txBody>
      </p:sp>
      <p:sp>
        <p:nvSpPr>
          <p:cNvPr id="33" name="Oval 32">
            <a:extLst>
              <a:ext uri="{FF2B5EF4-FFF2-40B4-BE49-F238E27FC236}">
                <a16:creationId xmlns:a16="http://schemas.microsoft.com/office/drawing/2014/main" id="{B8F8279F-084E-E1D3-84D2-B8A625DC9F00}"/>
              </a:ext>
            </a:extLst>
          </p:cNvPr>
          <p:cNvSpPr/>
          <p:nvPr/>
        </p:nvSpPr>
        <p:spPr>
          <a:xfrm>
            <a:off x="6908005" y="4424200"/>
            <a:ext cx="180000" cy="18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A67B9433-1485-793B-8767-A7D5D0DD9CD2}"/>
              </a:ext>
            </a:extLst>
          </p:cNvPr>
          <p:cNvSpPr/>
          <p:nvPr/>
        </p:nvSpPr>
        <p:spPr>
          <a:xfrm>
            <a:off x="7045141" y="3330627"/>
            <a:ext cx="180000" cy="18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D068CF89-2B5C-52F2-5B97-EC10229C5F50}"/>
              </a:ext>
            </a:extLst>
          </p:cNvPr>
          <p:cNvSpPr/>
          <p:nvPr/>
        </p:nvSpPr>
        <p:spPr>
          <a:xfrm>
            <a:off x="7560467" y="2819940"/>
            <a:ext cx="180000" cy="18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2" name="Footer Placeholder 3">
            <a:extLst>
              <a:ext uri="{FF2B5EF4-FFF2-40B4-BE49-F238E27FC236}">
                <a16:creationId xmlns:a16="http://schemas.microsoft.com/office/drawing/2014/main" id="{FA494C91-F87C-7CB2-6158-2C6A8CA61A27}"/>
              </a:ext>
            </a:extLst>
          </p:cNvPr>
          <p:cNvSpPr>
            <a:spLocks noGrp="1"/>
          </p:cNvSpPr>
          <p:nvPr>
            <p:ph type="ftr" sz="quarter" idx="11"/>
          </p:nvPr>
        </p:nvSpPr>
        <p:spPr>
          <a:xfrm>
            <a:off x="600075" y="6542088"/>
            <a:ext cx="3257126"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a:ea typeface="+mn-ea"/>
                <a:cs typeface="+mn-cs"/>
              </a:rPr>
              <a:t>*Including hired-ins </a:t>
            </a:r>
          </a:p>
        </p:txBody>
      </p:sp>
      <p:pic>
        <p:nvPicPr>
          <p:cNvPr id="3" name="Bilde 62">
            <a:extLst>
              <a:ext uri="{FF2B5EF4-FFF2-40B4-BE49-F238E27FC236}">
                <a16:creationId xmlns:a16="http://schemas.microsoft.com/office/drawing/2014/main" id="{D5EB3586-3A8E-C217-2FAF-226942D1F79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23197" y="284316"/>
            <a:ext cx="2245918" cy="752496"/>
          </a:xfrm>
          <a:prstGeom prst="rect">
            <a:avLst/>
          </a:prstGeom>
        </p:spPr>
      </p:pic>
    </p:spTree>
    <p:extLst>
      <p:ext uri="{BB962C8B-B14F-4D97-AF65-F5344CB8AC3E}">
        <p14:creationId xmlns:p14="http://schemas.microsoft.com/office/powerpoint/2010/main" val="40051313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7E89D98B-4BCD-9DED-B9D5-74B2449D03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84" imgH="486" progId="TCLayout.ActiveDocument.1">
                  <p:embed/>
                </p:oleObj>
              </mc:Choice>
              <mc:Fallback>
                <p:oleObj name="think-cell Slide" r:id="rId36" imgW="484" imgH="486" progId="TCLayout.ActiveDocument.1">
                  <p:embed/>
                  <p:pic>
                    <p:nvPicPr>
                      <p:cNvPr id="17" name="think-cell data - do not delete" hidden="1">
                        <a:extLst>
                          <a:ext uri="{FF2B5EF4-FFF2-40B4-BE49-F238E27FC236}">
                            <a16:creationId xmlns:a16="http://schemas.microsoft.com/office/drawing/2014/main" id="{7E89D98B-4BCD-9DED-B9D5-74B2449D0345}"/>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BCFB0B66-DC32-3F14-60D5-DEA47DEF391A}"/>
              </a:ext>
            </a:extLst>
          </p:cNvPr>
          <p:cNvPicPr>
            <a:picLocks noChangeAspect="1"/>
          </p:cNvPicPr>
          <p:nvPr/>
        </p:nvPicPr>
        <p:blipFill>
          <a:blip r:embed="rId38" cstate="screen">
            <a:extLst>
              <a:ext uri="{28A0092B-C50C-407E-A947-70E740481C1C}">
                <a14:useLocalDpi xmlns:a14="http://schemas.microsoft.com/office/drawing/2010/main"/>
              </a:ext>
            </a:extLst>
          </a:blip>
          <a:srcRect/>
          <a:stretch>
            <a:fillRect/>
          </a:stretch>
        </p:blipFill>
        <p:spPr>
          <a:xfrm>
            <a:off x="0" y="-2"/>
            <a:ext cx="12192000" cy="6858001"/>
          </a:xfrm>
          <a:prstGeom prst="rect">
            <a:avLst/>
          </a:prstGeom>
        </p:spPr>
      </p:pic>
      <p:sp>
        <p:nvSpPr>
          <p:cNvPr id="68" name="Rectangle 67">
            <a:extLst>
              <a:ext uri="{FF2B5EF4-FFF2-40B4-BE49-F238E27FC236}">
                <a16:creationId xmlns:a16="http://schemas.microsoft.com/office/drawing/2014/main" id="{5CC76DCB-1879-2064-CA74-5720265680E9}"/>
              </a:ext>
            </a:extLst>
          </p:cNvPr>
          <p:cNvSpPr/>
          <p:nvPr/>
        </p:nvSpPr>
        <p:spPr>
          <a:xfrm>
            <a:off x="0" y="0"/>
            <a:ext cx="12192000" cy="6858000"/>
          </a:xfrm>
          <a:prstGeom prst="rect">
            <a:avLst/>
          </a:prstGeom>
          <a:gradFill>
            <a:gsLst>
              <a:gs pos="47000">
                <a:srgbClr val="0F0C08">
                  <a:alpha val="20000"/>
                </a:srgbClr>
              </a:gs>
              <a:gs pos="0">
                <a:schemeClr val="bg1">
                  <a:alpha val="0"/>
                </a:schemeClr>
              </a:gs>
              <a:gs pos="71000">
                <a:srgbClr val="0F0C08">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B4BA0184-5A43-397A-04ED-1D7ABE24DA0A}"/>
              </a:ext>
            </a:extLst>
          </p:cNvPr>
          <p:cNvSpPr/>
          <p:nvPr/>
        </p:nvSpPr>
        <p:spPr>
          <a:xfrm>
            <a:off x="4441823" y="5713497"/>
            <a:ext cx="3502025" cy="38608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35" name="TextBox 1">
            <a:extLst>
              <a:ext uri="{FF2B5EF4-FFF2-40B4-BE49-F238E27FC236}">
                <a16:creationId xmlns:a16="http://schemas.microsoft.com/office/drawing/2014/main" id="{92AF16C8-BF49-4451-F294-0CDB05B46BCE}"/>
              </a:ext>
            </a:extLst>
          </p:cNvPr>
          <p:cNvSpPr txBox="1">
            <a:spLocks/>
          </p:cNvSpPr>
          <p:nvPr/>
        </p:nvSpPr>
        <p:spPr>
          <a:xfrm>
            <a:off x="8283575" y="1797753"/>
            <a:ext cx="3486150" cy="3685589"/>
          </a:xfrm>
          <a:prstGeom prst="rect">
            <a:avLst/>
          </a:prstGeom>
          <a:noFill/>
        </p:spPr>
        <p:txBody>
          <a:bodyPr wrap="square" lIns="72000" rIns="3600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panose="020B0604020202020204"/>
                <a:ea typeface="+mn-ea"/>
                <a:cs typeface="+mn-cs"/>
              </a:rPr>
              <a:t>Exampl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NVIDIA quarterly Data </a:t>
            </a:r>
            <a:r>
              <a:rPr kumimoji="0" lang="en-GB" sz="1000" b="0" i="1" u="none" strike="noStrike" kern="1200" cap="none" spc="0" normalizeH="0" baseline="0" noProof="0" err="1">
                <a:ln>
                  <a:noFill/>
                </a:ln>
                <a:solidFill>
                  <a:prstClr val="white"/>
                </a:solidFill>
                <a:effectLst/>
                <a:uLnTx/>
                <a:uFillTx/>
                <a:latin typeface="Arial" panose="020B0604020202020204"/>
                <a:ea typeface="+mn-ea"/>
                <a:cs typeface="+mn-cs"/>
              </a:rPr>
              <a:t>Center</a:t>
            </a: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 revenue (</a:t>
            </a:r>
            <a:r>
              <a:rPr kumimoji="0" lang="en-GB" sz="1000" b="0" i="1" u="none" strike="noStrike" kern="1200" cap="none" spc="0" normalizeH="0" baseline="0" noProof="0" err="1">
                <a:ln>
                  <a:noFill/>
                </a:ln>
                <a:solidFill>
                  <a:prstClr val="white"/>
                </a:solidFill>
                <a:effectLst/>
                <a:uLnTx/>
                <a:uFillTx/>
                <a:latin typeface="Arial" panose="020B0604020202020204"/>
                <a:ea typeface="+mn-ea"/>
                <a:cs typeface="+mn-cs"/>
              </a:rPr>
              <a:t>USDbn</a:t>
            </a: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a:t>
            </a:r>
            <a:r>
              <a:rPr kumimoji="0" lang="en-GB" sz="1000" b="0" i="1" u="none" strike="noStrike" kern="1200" cap="none" spc="0" normalizeH="0" baseline="30000" noProof="0">
                <a:ln>
                  <a:noFill/>
                </a:ln>
                <a:solidFill>
                  <a:prstClr val="white"/>
                </a:solidFill>
                <a:effectLst/>
                <a:uLnTx/>
                <a:uFillTx/>
                <a:latin typeface="Arial" panose="020B0604020202020204"/>
                <a:ea typeface="+mn-ea"/>
                <a:cs typeface="+mn-cs"/>
              </a:rPr>
              <a:t>(3)</a:t>
            </a:r>
            <a:endParaRPr kumimoji="0" lang="en-GB" sz="1000" b="0" i="1"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0" name="TextBox 1">
            <a:extLst>
              <a:ext uri="{FF2B5EF4-FFF2-40B4-BE49-F238E27FC236}">
                <a16:creationId xmlns:a16="http://schemas.microsoft.com/office/drawing/2014/main" id="{00464A99-A127-DF7A-B549-F14AD3D19EFF}"/>
              </a:ext>
            </a:extLst>
          </p:cNvPr>
          <p:cNvSpPr txBox="1">
            <a:spLocks/>
          </p:cNvSpPr>
          <p:nvPr/>
        </p:nvSpPr>
        <p:spPr>
          <a:xfrm>
            <a:off x="594539" y="1800809"/>
            <a:ext cx="3502800" cy="3685589"/>
          </a:xfrm>
          <a:prstGeom prst="rect">
            <a:avLst/>
          </a:prstGeom>
          <a:noFill/>
        </p:spPr>
        <p:txBody>
          <a:bodyPr wrap="square" lIns="72000" rIns="3600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panose="020B0604020202020204"/>
                <a:ea typeface="+mn-ea"/>
                <a:cs typeface="+mn-cs"/>
              </a:rPr>
              <a:t>Exampl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Amount of data created, consumed, stored (zettabytes)</a:t>
            </a:r>
            <a:r>
              <a:rPr kumimoji="0" lang="en-GB" sz="1000" b="0" i="1" u="none" strike="noStrike" kern="1200" cap="none" spc="0" normalizeH="0" baseline="30000" noProof="0">
                <a:ln>
                  <a:noFill/>
                </a:ln>
                <a:solidFill>
                  <a:prstClr val="white"/>
                </a:solidFill>
                <a:effectLst/>
                <a:uLnTx/>
                <a:uFillTx/>
                <a:latin typeface="Arial" panose="020B0604020202020204"/>
                <a:ea typeface="+mn-ea"/>
                <a:cs typeface="+mn-cs"/>
              </a:rPr>
              <a:t>(1)</a:t>
            </a:r>
          </a:p>
        </p:txBody>
      </p:sp>
      <p:sp>
        <p:nvSpPr>
          <p:cNvPr id="265" name="TextBox 1">
            <a:extLst>
              <a:ext uri="{FF2B5EF4-FFF2-40B4-BE49-F238E27FC236}">
                <a16:creationId xmlns:a16="http://schemas.microsoft.com/office/drawing/2014/main" id="{AEA0A752-F461-AA3B-7A54-244DD4292939}"/>
              </a:ext>
            </a:extLst>
          </p:cNvPr>
          <p:cNvSpPr txBox="1">
            <a:spLocks/>
          </p:cNvSpPr>
          <p:nvPr/>
        </p:nvSpPr>
        <p:spPr>
          <a:xfrm>
            <a:off x="4441824" y="1800809"/>
            <a:ext cx="3502025" cy="3685589"/>
          </a:xfrm>
          <a:prstGeom prst="rect">
            <a:avLst/>
          </a:prstGeom>
          <a:noFill/>
        </p:spPr>
        <p:txBody>
          <a:bodyPr wrap="square" lIns="72000" rIns="3600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panose="020B0604020202020204"/>
                <a:ea typeface="+mn-ea"/>
                <a:cs typeface="+mn-cs"/>
              </a:rPr>
              <a:t>Exampl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Arial" panose="020B0604020202020204"/>
                <a:ea typeface="+mn-ea"/>
                <a:cs typeface="+mn-cs"/>
              </a:rPr>
              <a:t>AI compute power required vs. Google search</a:t>
            </a:r>
            <a:r>
              <a:rPr kumimoji="0" lang="en-GB" sz="1000" b="0" i="1" u="none" strike="noStrike" kern="1200" cap="none" spc="0" normalizeH="0" baseline="30000" noProof="0">
                <a:ln>
                  <a:noFill/>
                </a:ln>
                <a:solidFill>
                  <a:prstClr val="white"/>
                </a:solidFill>
                <a:effectLst/>
                <a:uLnTx/>
                <a:uFillTx/>
                <a:latin typeface="Arial" panose="020B0604020202020204"/>
                <a:ea typeface="+mn-ea"/>
                <a:cs typeface="+mn-cs"/>
              </a:rPr>
              <a:t>(2)</a:t>
            </a:r>
          </a:p>
        </p:txBody>
      </p:sp>
      <p:sp>
        <p:nvSpPr>
          <p:cNvPr id="2" name="Title 1">
            <a:extLst>
              <a:ext uri="{FF2B5EF4-FFF2-40B4-BE49-F238E27FC236}">
                <a16:creationId xmlns:a16="http://schemas.microsoft.com/office/drawing/2014/main" id="{E03FE5A8-18AC-B6D3-D160-B8F9B96CBD28}"/>
              </a:ext>
            </a:extLst>
          </p:cNvPr>
          <p:cNvSpPr>
            <a:spLocks noGrp="1"/>
          </p:cNvSpPr>
          <p:nvPr>
            <p:ph type="title"/>
          </p:nvPr>
        </p:nvSpPr>
        <p:spPr>
          <a:xfrm>
            <a:off x="600075" y="409575"/>
            <a:ext cx="10493375" cy="480131"/>
          </a:xfrm>
          <a:noFill/>
        </p:spPr>
        <p:txBody>
          <a:bodyPr vert="horz"/>
          <a:lstStyle/>
          <a:p>
            <a:r>
              <a:rPr lang="en-GB">
                <a:solidFill>
                  <a:schemeClr val="bg1"/>
                </a:solidFill>
              </a:rPr>
              <a:t>Gen AI revolution continues to drive massive increase in demand</a:t>
            </a:r>
          </a:p>
        </p:txBody>
      </p:sp>
      <p:sp>
        <p:nvSpPr>
          <p:cNvPr id="4" name="Footer Placeholder 3">
            <a:extLst>
              <a:ext uri="{FF2B5EF4-FFF2-40B4-BE49-F238E27FC236}">
                <a16:creationId xmlns:a16="http://schemas.microsoft.com/office/drawing/2014/main" id="{3D5F9F98-0494-7F68-16E0-50EEA3B1B6F9}"/>
              </a:ext>
            </a:extLst>
          </p:cNvPr>
          <p:cNvSpPr>
            <a:spLocks noGrp="1"/>
          </p:cNvSpPr>
          <p:nvPr>
            <p:ph type="ftr" sz="quarter" idx="11"/>
          </p:nvPr>
        </p:nvSpPr>
        <p:spPr>
          <a:xfrm>
            <a:off x="4441824" y="6334811"/>
            <a:ext cx="3733800" cy="646331"/>
          </a:xfrm>
        </p:spPr>
        <p:txBody>
          <a:bodyPr>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kumimoji="0" lang="en-GB" sz="900" b="0" i="0" u="none" strike="noStrike" kern="1200" cap="none" spc="0" normalizeH="0" baseline="0" noProof="0">
                <a:ln>
                  <a:noFill/>
                </a:ln>
                <a:solidFill>
                  <a:prstClr val="white"/>
                </a:solidFill>
                <a:effectLst/>
                <a:uLnTx/>
                <a:uFillTx/>
                <a:latin typeface="Arial" panose="020B0604020202020204"/>
                <a:ea typeface="+mn-ea"/>
                <a:cs typeface="+mn-cs"/>
              </a:rPr>
              <a:t>Source: International Data Corporations (IDC), as of 5/31/2024</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kumimoji="0" lang="en-GB" sz="900" b="0" i="0" u="none" strike="noStrike" kern="1200" cap="none" spc="0" normalizeH="0" baseline="0" noProof="0">
                <a:ln>
                  <a:noFill/>
                </a:ln>
                <a:solidFill>
                  <a:prstClr val="white"/>
                </a:solidFill>
                <a:effectLst/>
                <a:uLnTx/>
                <a:uFillTx/>
                <a:latin typeface="Arial" panose="020B0604020202020204"/>
                <a:ea typeface="+mn-ea"/>
                <a:cs typeface="+mn-cs"/>
              </a:rPr>
              <a:t>Sources: Blackstone, Reuters, The Register, Factorial Fund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kumimoji="0" lang="en-GB" sz="900" b="0" i="0" u="none" strike="noStrike" kern="1200" cap="none" spc="0" normalizeH="0" baseline="0" noProof="0">
                <a:ln>
                  <a:noFill/>
                </a:ln>
                <a:solidFill>
                  <a:prstClr val="white"/>
                </a:solidFill>
                <a:effectLst/>
                <a:uLnTx/>
                <a:uFillTx/>
                <a:latin typeface="Arial" panose="020B0604020202020204"/>
                <a:ea typeface="+mn-ea"/>
                <a:cs typeface="+mn-cs"/>
              </a:rPr>
              <a:t>Source: NVIDIA 10-Q SEC filings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kumimoji="0" lang="en-GB"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6E758519-CB39-1649-9230-0ED0B210309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9A8FBAF-0888-4EBA-BABF-C1B1411D4DB4}" type="slidenum">
              <a:rPr kumimoji="0" lang="en-GB"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Content Placeholder 6">
            <a:extLst>
              <a:ext uri="{FF2B5EF4-FFF2-40B4-BE49-F238E27FC236}">
                <a16:creationId xmlns:a16="http://schemas.microsoft.com/office/drawing/2014/main" id="{6419AD8B-77F2-1F8E-BDD3-7BCB2F789D2D}"/>
              </a:ext>
            </a:extLst>
          </p:cNvPr>
          <p:cNvSpPr>
            <a:spLocks noGrp="1"/>
          </p:cNvSpPr>
          <p:nvPr>
            <p:ph sz="quarter" idx="16"/>
          </p:nvPr>
        </p:nvSpPr>
        <p:spPr>
          <a:xfrm>
            <a:off x="600075" y="1441566"/>
            <a:ext cx="3502800" cy="307777"/>
          </a:xfrm>
          <a:gradFill>
            <a:gsLst>
              <a:gs pos="94000">
                <a:schemeClr val="bg1">
                  <a:alpha val="0"/>
                </a:schemeClr>
              </a:gs>
              <a:gs pos="95000">
                <a:schemeClr val="accent1"/>
              </a:gs>
            </a:gsLst>
          </a:gradFill>
        </p:spPr>
        <p:txBody>
          <a:bodyPr/>
          <a:lstStyle/>
          <a:p>
            <a:r>
              <a:rPr lang="en-GB">
                <a:solidFill>
                  <a:schemeClr val="bg1"/>
                </a:solidFill>
              </a:rPr>
              <a:t>Exponential data consumption growth</a:t>
            </a:r>
          </a:p>
        </p:txBody>
      </p:sp>
      <p:sp>
        <p:nvSpPr>
          <p:cNvPr id="8" name="Content Placeholder 7">
            <a:extLst>
              <a:ext uri="{FF2B5EF4-FFF2-40B4-BE49-F238E27FC236}">
                <a16:creationId xmlns:a16="http://schemas.microsoft.com/office/drawing/2014/main" id="{DACB67D7-E664-BF15-0695-A97B2924F1D0}"/>
              </a:ext>
            </a:extLst>
          </p:cNvPr>
          <p:cNvSpPr>
            <a:spLocks noGrp="1"/>
          </p:cNvSpPr>
          <p:nvPr>
            <p:ph sz="quarter" idx="17"/>
          </p:nvPr>
        </p:nvSpPr>
        <p:spPr>
          <a:xfrm>
            <a:off x="8284388" y="1441566"/>
            <a:ext cx="3502800" cy="307777"/>
          </a:xfrm>
          <a:gradFill>
            <a:gsLst>
              <a:gs pos="94000">
                <a:schemeClr val="bg1">
                  <a:alpha val="0"/>
                </a:schemeClr>
              </a:gs>
              <a:gs pos="95000">
                <a:schemeClr val="accent1"/>
              </a:gs>
            </a:gsLst>
          </a:gradFill>
        </p:spPr>
        <p:txBody>
          <a:bodyPr/>
          <a:lstStyle/>
          <a:p>
            <a:r>
              <a:rPr lang="en-GB">
                <a:solidFill>
                  <a:schemeClr val="bg1"/>
                </a:solidFill>
              </a:rPr>
              <a:t>… driving GPU and data </a:t>
            </a:r>
            <a:r>
              <a:rPr lang="en-GB" err="1">
                <a:solidFill>
                  <a:schemeClr val="bg1"/>
                </a:solidFill>
              </a:rPr>
              <a:t>center</a:t>
            </a:r>
            <a:r>
              <a:rPr lang="en-GB">
                <a:solidFill>
                  <a:schemeClr val="bg1"/>
                </a:solidFill>
              </a:rPr>
              <a:t> demand</a:t>
            </a:r>
          </a:p>
        </p:txBody>
      </p:sp>
      <p:sp>
        <p:nvSpPr>
          <p:cNvPr id="10" name="Content Placeholder 9">
            <a:extLst>
              <a:ext uri="{FF2B5EF4-FFF2-40B4-BE49-F238E27FC236}">
                <a16:creationId xmlns:a16="http://schemas.microsoft.com/office/drawing/2014/main" id="{DAC6DA48-B89F-D340-BF52-2D29B743337C}"/>
              </a:ext>
            </a:extLst>
          </p:cNvPr>
          <p:cNvSpPr>
            <a:spLocks noGrp="1"/>
          </p:cNvSpPr>
          <p:nvPr>
            <p:ph sz="quarter" idx="19"/>
          </p:nvPr>
        </p:nvSpPr>
        <p:spPr>
          <a:xfrm>
            <a:off x="4442231" y="1441566"/>
            <a:ext cx="3502800" cy="307777"/>
          </a:xfrm>
          <a:gradFill>
            <a:gsLst>
              <a:gs pos="94000">
                <a:schemeClr val="bg1">
                  <a:alpha val="0"/>
                </a:schemeClr>
              </a:gs>
              <a:gs pos="95000">
                <a:schemeClr val="accent1"/>
              </a:gs>
            </a:gsLst>
          </a:gradFill>
        </p:spPr>
        <p:txBody>
          <a:bodyPr/>
          <a:lstStyle/>
          <a:p>
            <a:r>
              <a:rPr lang="en-GB">
                <a:solidFill>
                  <a:schemeClr val="bg1"/>
                </a:solidFill>
              </a:rPr>
              <a:t>…fuelled by AI compute intensity</a:t>
            </a:r>
          </a:p>
        </p:txBody>
      </p:sp>
      <p:pic>
        <p:nvPicPr>
          <p:cNvPr id="36" name="Picture 35">
            <a:extLst>
              <a:ext uri="{FF2B5EF4-FFF2-40B4-BE49-F238E27FC236}">
                <a16:creationId xmlns:a16="http://schemas.microsoft.com/office/drawing/2014/main" id="{7E9F51BC-C30A-01E3-5BDC-B786B63BB7D8}"/>
              </a:ext>
            </a:extLst>
          </p:cNvPr>
          <p:cNvPicPr>
            <a:picLocks noChangeAspect="1"/>
          </p:cNvPicPr>
          <p:nvPr>
            <p:custDataLst>
              <p:tags r:id="rId2"/>
            </p:custDataLst>
          </p:nvPr>
        </p:nvPicPr>
        <p:blipFill>
          <a:blip r:embed="rId39" cstate="screen">
            <a:extLst>
              <a:ext uri="{28A0092B-C50C-407E-A947-70E740481C1C}">
                <a14:useLocalDpi xmlns:a14="http://schemas.microsoft.com/office/drawing/2010/main"/>
              </a:ext>
            </a:extLst>
          </a:blip>
          <a:stretch>
            <a:fillRect/>
          </a:stretch>
        </p:blipFill>
        <p:spPr>
          <a:xfrm>
            <a:off x="9220200" y="5749189"/>
            <a:ext cx="1614488" cy="301370"/>
          </a:xfrm>
          <a:prstGeom prst="rect">
            <a:avLst/>
          </a:prstGeom>
          <a:solidFill>
            <a:schemeClr val="bg1">
              <a:alpha val="90000"/>
            </a:schemeClr>
          </a:solidFill>
        </p:spPr>
      </p:pic>
      <p:graphicFrame>
        <p:nvGraphicFramePr>
          <p:cNvPr id="85" name="Chart 84">
            <a:extLst>
              <a:ext uri="{FF2B5EF4-FFF2-40B4-BE49-F238E27FC236}">
                <a16:creationId xmlns:a16="http://schemas.microsoft.com/office/drawing/2014/main" id="{4F35C0F3-602E-6745-7692-307DF2E3EFE0}"/>
              </a:ext>
            </a:extLst>
          </p:cNvPr>
          <p:cNvGraphicFramePr/>
          <p:nvPr>
            <p:custDataLst>
              <p:tags r:id="rId3"/>
            </p:custDataLst>
          </p:nvPr>
        </p:nvGraphicFramePr>
        <p:xfrm>
          <a:off x="8201025" y="2606675"/>
          <a:ext cx="3651250" cy="2949575"/>
        </p:xfrm>
        <a:graphic>
          <a:graphicData uri="http://schemas.openxmlformats.org/drawingml/2006/chart">
            <c:chart xmlns:c="http://schemas.openxmlformats.org/drawingml/2006/chart" xmlns:r="http://schemas.openxmlformats.org/officeDocument/2006/relationships" r:id="rId40"/>
          </a:graphicData>
        </a:graphic>
      </p:graphicFrame>
      <p:sp>
        <p:nvSpPr>
          <p:cNvPr id="14" name="Text Placeholder 2">
            <a:extLst>
              <a:ext uri="{FF2B5EF4-FFF2-40B4-BE49-F238E27FC236}">
                <a16:creationId xmlns:a16="http://schemas.microsoft.com/office/drawing/2014/main" id="{F559B5E3-7B2B-3560-5E25-2E7110631878}"/>
              </a:ext>
            </a:extLst>
          </p:cNvPr>
          <p:cNvSpPr>
            <a:spLocks/>
          </p:cNvSpPr>
          <p:nvPr>
            <p:custDataLst>
              <p:tags r:id="rId4"/>
            </p:custDataLst>
          </p:nvPr>
        </p:nvSpPr>
        <p:spPr bwMode="auto">
          <a:xfrm>
            <a:off x="8523288" y="5516563"/>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FB9F4BA7-2BF5-4AD5-9456-E454F2E421BC}" type="datetime'''''''''''Q''''''''1/''2''''''''''''2'''''' '''''''''''">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Q1/22 </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Text Placeholder 2">
            <a:extLst>
              <a:ext uri="{FF2B5EF4-FFF2-40B4-BE49-F238E27FC236}">
                <a16:creationId xmlns:a16="http://schemas.microsoft.com/office/drawing/2014/main" id="{7A5B99F6-BC7E-CA4F-19C0-3FBDB927D33E}"/>
              </a:ext>
            </a:extLst>
          </p:cNvPr>
          <p:cNvSpPr>
            <a:spLocks/>
          </p:cNvSpPr>
          <p:nvPr>
            <p:custDataLst>
              <p:tags r:id="rId5"/>
            </p:custDataLst>
          </p:nvPr>
        </p:nvSpPr>
        <p:spPr bwMode="auto">
          <a:xfrm>
            <a:off x="9394825" y="5516563"/>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F406A2CF-8E31-4845-A7B5-31A0A8C3F4B8}" type="datetime'''Q''''1''/''''''''''''''2''''''''''''''''''3'''' '''''">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Q1/23 </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ext Placeholder 2">
            <a:extLst>
              <a:ext uri="{FF2B5EF4-FFF2-40B4-BE49-F238E27FC236}">
                <a16:creationId xmlns:a16="http://schemas.microsoft.com/office/drawing/2014/main" id="{D2619CCA-8777-7B57-B065-A0DB02CE8238}"/>
              </a:ext>
            </a:extLst>
          </p:cNvPr>
          <p:cNvSpPr>
            <a:spLocks/>
          </p:cNvSpPr>
          <p:nvPr>
            <p:custDataLst>
              <p:tags r:id="rId6"/>
            </p:custDataLst>
          </p:nvPr>
        </p:nvSpPr>
        <p:spPr bwMode="auto">
          <a:xfrm>
            <a:off x="10283825" y="5516563"/>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CF2C4316-20FE-4E5E-B473-660E144EA90D}" type="datetime'''''''''''''''''Q''''''''''''''1''/''2''''''''4'''''''''">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Q1/24</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5" name="Text Placeholder 2">
            <a:extLst>
              <a:ext uri="{FF2B5EF4-FFF2-40B4-BE49-F238E27FC236}">
                <a16:creationId xmlns:a16="http://schemas.microsoft.com/office/drawing/2014/main" id="{D9FBB028-185A-7F3C-96E3-DA53052D29E8}"/>
              </a:ext>
            </a:extLst>
          </p:cNvPr>
          <p:cNvSpPr>
            <a:spLocks/>
          </p:cNvSpPr>
          <p:nvPr>
            <p:custDataLst>
              <p:tags r:id="rId7"/>
            </p:custDataLst>
          </p:nvPr>
        </p:nvSpPr>
        <p:spPr bwMode="auto">
          <a:xfrm>
            <a:off x="11155363" y="5516563"/>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12C3155F-3DF7-47A2-A5F2-C598907A70BB}" type="datetime'''Q''''''''''''''''''''''''''1''''''/25'''''''''''''">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Q1/25</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xt Placeholder 2">
            <a:extLst>
              <a:ext uri="{FF2B5EF4-FFF2-40B4-BE49-F238E27FC236}">
                <a16:creationId xmlns:a16="http://schemas.microsoft.com/office/drawing/2014/main" id="{7B48B1F7-D3E6-5F15-6E58-0AD3EC6F5C7F}"/>
              </a:ext>
            </a:extLst>
          </p:cNvPr>
          <p:cNvSpPr>
            <a:spLocks/>
          </p:cNvSpPr>
          <p:nvPr>
            <p:custDataLst>
              <p:tags r:id="rId8"/>
            </p:custDataLst>
          </p:nvPr>
        </p:nvSpPr>
        <p:spPr bwMode="gray">
          <a:xfrm>
            <a:off x="8613775" y="502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B2A15A1E-F1EE-4B6E-A9B2-73D0E76C279F}" type="datetime'''''''''''''''''''''''''''''''''''3''''''.''''''''''8'">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8</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Text Placeholder 2">
            <a:extLst>
              <a:ext uri="{FF2B5EF4-FFF2-40B4-BE49-F238E27FC236}">
                <a16:creationId xmlns:a16="http://schemas.microsoft.com/office/drawing/2014/main" id="{074BF7E2-DE2C-1321-5B20-862DAA8728B2}"/>
              </a:ext>
            </a:extLst>
          </p:cNvPr>
          <p:cNvSpPr>
            <a:spLocks/>
          </p:cNvSpPr>
          <p:nvPr>
            <p:custDataLst>
              <p:tags r:id="rId9"/>
            </p:custDataLst>
          </p:nvPr>
        </p:nvSpPr>
        <p:spPr bwMode="gray">
          <a:xfrm>
            <a:off x="9485313" y="4991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16BB2C1D-BBD8-456E-A177-61317357795F}" type="datetime'''''''''''''4''''''''''''''.''3'''''''''''''''''''''''">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4.3</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Text Placeholder 2">
            <a:extLst>
              <a:ext uri="{FF2B5EF4-FFF2-40B4-BE49-F238E27FC236}">
                <a16:creationId xmlns:a16="http://schemas.microsoft.com/office/drawing/2014/main" id="{6C38EC87-3CA4-A1B1-4486-8FA356891B0D}"/>
              </a:ext>
            </a:extLst>
          </p:cNvPr>
          <p:cNvSpPr>
            <a:spLocks/>
          </p:cNvSpPr>
          <p:nvPr>
            <p:custDataLst>
              <p:tags r:id="rId10"/>
            </p:custDataLst>
          </p:nvPr>
        </p:nvSpPr>
        <p:spPr bwMode="gray">
          <a:xfrm>
            <a:off x="10321925" y="36861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D0A1CA60-B606-4985-B266-280DB176D3EC}" type="datetime'''2''''''''2''''''''''''''.6'''''''''''''''''''">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2.6</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8" name="Text Placeholder 2">
            <a:extLst>
              <a:ext uri="{FF2B5EF4-FFF2-40B4-BE49-F238E27FC236}">
                <a16:creationId xmlns:a16="http://schemas.microsoft.com/office/drawing/2014/main" id="{F79BC5C5-15E9-CB1F-AB72-BE367C9FE49F}"/>
              </a:ext>
            </a:extLst>
          </p:cNvPr>
          <p:cNvSpPr>
            <a:spLocks/>
          </p:cNvSpPr>
          <p:nvPr>
            <p:custDataLst>
              <p:tags r:id="rId11"/>
            </p:custDataLst>
          </p:nvPr>
        </p:nvSpPr>
        <p:spPr bwMode="gray">
          <a:xfrm>
            <a:off x="11193463" y="2511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357188" indent="-357188" algn="l" defTabSz="914400" rtl="0" eaLnBrk="1" latinLnBrk="0" hangingPunct="1">
              <a:lnSpc>
                <a:spcPct val="100000"/>
              </a:lnSpc>
              <a:spcBef>
                <a:spcPts val="800"/>
              </a:spcBef>
              <a:buFontTx/>
              <a:buBlip>
                <a:blip r:embed="rId41"/>
              </a:buBlip>
              <a:defRPr sz="1600" kern="1200">
                <a:solidFill>
                  <a:schemeClr val="tx1"/>
                </a:solidFill>
                <a:latin typeface="+mn-lt"/>
                <a:ea typeface="+mn-ea"/>
                <a:cs typeface="+mn-cs"/>
              </a:defRPr>
            </a:lvl1pPr>
            <a:lvl2pPr marL="715963"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0856496E-FAFE-4732-A026-BCF50E6AA061}" type="datetime'''''''''''''''''''''39.''''''''''''''''''1'''''''''''''''''">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9.1</a:t>
            </a:fld>
            <a:endParaRPr kumimoji="0" lang="en-GB"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90" name="Chart 89">
            <a:extLst>
              <a:ext uri="{FF2B5EF4-FFF2-40B4-BE49-F238E27FC236}">
                <a16:creationId xmlns:a16="http://schemas.microsoft.com/office/drawing/2014/main" id="{2EB3BCA8-02A2-FF05-8F1D-559462805A72}"/>
              </a:ext>
            </a:extLst>
          </p:cNvPr>
          <p:cNvGraphicFramePr/>
          <p:nvPr>
            <p:custDataLst>
              <p:tags r:id="rId12"/>
            </p:custDataLst>
          </p:nvPr>
        </p:nvGraphicFramePr>
        <p:xfrm>
          <a:off x="517525" y="2500313"/>
          <a:ext cx="3667125" cy="3198812"/>
        </p:xfrm>
        <a:graphic>
          <a:graphicData uri="http://schemas.openxmlformats.org/drawingml/2006/chart">
            <c:chart xmlns:c="http://schemas.openxmlformats.org/drawingml/2006/chart" xmlns:r="http://schemas.openxmlformats.org/officeDocument/2006/relationships" r:id="rId42"/>
          </a:graphicData>
        </a:graphic>
      </p:graphicFrame>
      <p:sp>
        <p:nvSpPr>
          <p:cNvPr id="27" name="Text Placeholder 2">
            <a:extLst>
              <a:ext uri="{FF2B5EF4-FFF2-40B4-BE49-F238E27FC236}">
                <a16:creationId xmlns:a16="http://schemas.microsoft.com/office/drawing/2014/main" id="{852DC2C6-F28E-90C0-A940-A275091CBF50}"/>
              </a:ext>
            </a:extLst>
          </p:cNvPr>
          <p:cNvSpPr>
            <a:spLocks/>
          </p:cNvSpPr>
          <p:nvPr>
            <p:custDataLst>
              <p:tags r:id="rId13"/>
            </p:custDataLst>
          </p:nvPr>
        </p:nvSpPr>
        <p:spPr bwMode="auto">
          <a:xfrm>
            <a:off x="555625" y="5516563"/>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25CCDB80-CEAF-4FEF-9E77-6405D396675A}" type="datetime'201''''''0'''''''''''">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10</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Text Placeholder 2">
            <a:extLst>
              <a:ext uri="{FF2B5EF4-FFF2-40B4-BE49-F238E27FC236}">
                <a16:creationId xmlns:a16="http://schemas.microsoft.com/office/drawing/2014/main" id="{852DC2C6-F28E-90C0-A940-A275091CBF50}"/>
              </a:ext>
            </a:extLst>
          </p:cNvPr>
          <p:cNvSpPr>
            <a:spLocks/>
          </p:cNvSpPr>
          <p:nvPr>
            <p:custDataLst>
              <p:tags r:id="rId14"/>
            </p:custDataLst>
          </p:nvPr>
        </p:nvSpPr>
        <p:spPr bwMode="auto">
          <a:xfrm>
            <a:off x="968375" y="5516563"/>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C4F068B3-8C6E-462D-8DA9-42B950029CA7}" type="datetime'''''''''''''''''''''''''''''''2''0''''''12'''''''''''''">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12</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Text Placeholder 2">
            <a:extLst>
              <a:ext uri="{FF2B5EF4-FFF2-40B4-BE49-F238E27FC236}">
                <a16:creationId xmlns:a16="http://schemas.microsoft.com/office/drawing/2014/main" id="{4BC0F09D-00D2-D4F5-85ED-824C653D0FBA}"/>
              </a:ext>
            </a:extLst>
          </p:cNvPr>
          <p:cNvSpPr>
            <a:spLocks/>
          </p:cNvSpPr>
          <p:nvPr>
            <p:custDataLst>
              <p:tags r:id="rId15"/>
            </p:custDataLst>
          </p:nvPr>
        </p:nvSpPr>
        <p:spPr bwMode="auto">
          <a:xfrm>
            <a:off x="1379538" y="5516563"/>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C1DD853F-20A9-4235-AE01-038D5AB697AD}" type="datetime'''''''2''''''''''0''''''''''''''''1''''''''''''4'''''''''''">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14</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1" name="Text Placeholder 2">
            <a:extLst>
              <a:ext uri="{FF2B5EF4-FFF2-40B4-BE49-F238E27FC236}">
                <a16:creationId xmlns:a16="http://schemas.microsoft.com/office/drawing/2014/main" id="{D2AECFDA-86ED-0A36-BE16-F19A56D4C631}"/>
              </a:ext>
            </a:extLst>
          </p:cNvPr>
          <p:cNvSpPr>
            <a:spLocks/>
          </p:cNvSpPr>
          <p:nvPr>
            <p:custDataLst>
              <p:tags r:id="rId16"/>
            </p:custDataLst>
          </p:nvPr>
        </p:nvSpPr>
        <p:spPr bwMode="auto">
          <a:xfrm>
            <a:off x="1792288" y="5516563"/>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197998B5-5034-4DF5-95F6-5513FA07BB64}" type="datetime'2''''''''''''''''''''01''''''''6'''''''''''''''">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16</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Text Placeholder 2">
            <a:extLst>
              <a:ext uri="{FF2B5EF4-FFF2-40B4-BE49-F238E27FC236}">
                <a16:creationId xmlns:a16="http://schemas.microsoft.com/office/drawing/2014/main" id="{606F509E-793C-16CA-15AD-C80546899139}"/>
              </a:ext>
            </a:extLst>
          </p:cNvPr>
          <p:cNvSpPr>
            <a:spLocks/>
          </p:cNvSpPr>
          <p:nvPr>
            <p:custDataLst>
              <p:tags r:id="rId17"/>
            </p:custDataLst>
          </p:nvPr>
        </p:nvSpPr>
        <p:spPr bwMode="auto">
          <a:xfrm>
            <a:off x="2203450" y="5516563"/>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5D0B365-53C9-4E47-A74D-29D5BED8CEC1}" type="datetime'''''''''2''''''''''''''''''0''''''''''''1''''8'">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18</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 name="Text Placeholder 2">
            <a:extLst>
              <a:ext uri="{FF2B5EF4-FFF2-40B4-BE49-F238E27FC236}">
                <a16:creationId xmlns:a16="http://schemas.microsoft.com/office/drawing/2014/main" id="{C7DE5F10-3402-92EF-46CC-49696DAE6BDD}"/>
              </a:ext>
            </a:extLst>
          </p:cNvPr>
          <p:cNvSpPr>
            <a:spLocks/>
          </p:cNvSpPr>
          <p:nvPr>
            <p:custDataLst>
              <p:tags r:id="rId18"/>
            </p:custDataLst>
          </p:nvPr>
        </p:nvSpPr>
        <p:spPr bwMode="auto">
          <a:xfrm>
            <a:off x="2616200" y="5516563"/>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5512EA9-F08A-487C-BB19-4E5E9F1BF8EE}" type="datetime'''''''''''20''''''''''''''20'''">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20</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9" name="Text Placeholder 2">
            <a:extLst>
              <a:ext uri="{FF2B5EF4-FFF2-40B4-BE49-F238E27FC236}">
                <a16:creationId xmlns:a16="http://schemas.microsoft.com/office/drawing/2014/main" id="{03455FE5-85DB-F983-B164-0AE15316A425}"/>
              </a:ext>
            </a:extLst>
          </p:cNvPr>
          <p:cNvSpPr>
            <a:spLocks/>
          </p:cNvSpPr>
          <p:nvPr>
            <p:custDataLst>
              <p:tags r:id="rId19"/>
            </p:custDataLst>
          </p:nvPr>
        </p:nvSpPr>
        <p:spPr bwMode="auto">
          <a:xfrm>
            <a:off x="3027363" y="5516563"/>
            <a:ext cx="2921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E8DA7D2-6986-4FBE-992C-357D5BCED5DA}" type="datetime'''''2''0''''''''''''''''''''22'''''''''''">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22</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Text Placeholder 2">
            <a:extLst>
              <a:ext uri="{FF2B5EF4-FFF2-40B4-BE49-F238E27FC236}">
                <a16:creationId xmlns:a16="http://schemas.microsoft.com/office/drawing/2014/main" id="{BA41AF0C-E194-C5D2-FD18-A3F873F86D59}"/>
              </a:ext>
            </a:extLst>
          </p:cNvPr>
          <p:cNvSpPr>
            <a:spLocks/>
          </p:cNvSpPr>
          <p:nvPr>
            <p:custDataLst>
              <p:tags r:id="rId20"/>
            </p:custDataLst>
          </p:nvPr>
        </p:nvSpPr>
        <p:spPr bwMode="auto">
          <a:xfrm>
            <a:off x="3398838" y="5516563"/>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AAF21FA5-AFED-4F7C-B153-30196242CD68}" type="datetime'''2''0''''''''''''2''''''''''''4''E'''''''">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24E</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Text Placeholder 2">
            <a:extLst>
              <a:ext uri="{FF2B5EF4-FFF2-40B4-BE49-F238E27FC236}">
                <a16:creationId xmlns:a16="http://schemas.microsoft.com/office/drawing/2014/main" id="{07B11F6A-EF08-88ED-5972-392B7090E3C6}"/>
              </a:ext>
            </a:extLst>
          </p:cNvPr>
          <p:cNvSpPr>
            <a:spLocks/>
          </p:cNvSpPr>
          <p:nvPr>
            <p:custDataLst>
              <p:tags r:id="rId21"/>
            </p:custDataLst>
          </p:nvPr>
        </p:nvSpPr>
        <p:spPr bwMode="auto">
          <a:xfrm>
            <a:off x="3810000" y="5516563"/>
            <a:ext cx="37623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8B47D07A-4C5E-4178-BD3B-23863D6E98B4}" type="datetime'''''''''2''''''''''''''''''0''''''''''''''28''''''''''''''''E'">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028E</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5" name="Rectangle: Rounded Corners 144">
            <a:extLst>
              <a:ext uri="{FF2B5EF4-FFF2-40B4-BE49-F238E27FC236}">
                <a16:creationId xmlns:a16="http://schemas.microsoft.com/office/drawing/2014/main" id="{2C1807CF-ABBB-44C8-8983-95255351EF04}"/>
              </a:ext>
            </a:extLst>
          </p:cNvPr>
          <p:cNvSpPr>
            <a:spLocks/>
          </p:cNvSpPr>
          <p:nvPr/>
        </p:nvSpPr>
        <p:spPr>
          <a:xfrm>
            <a:off x="517526" y="5721350"/>
            <a:ext cx="1095329" cy="231775"/>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rial" panose="020B0604020202020204"/>
                <a:ea typeface="+mn-ea"/>
                <a:cs typeface="+mn-cs"/>
              </a:rPr>
              <a:t>Social media/cloud</a:t>
            </a:r>
          </a:p>
        </p:txBody>
      </p:sp>
      <p:sp>
        <p:nvSpPr>
          <p:cNvPr id="146" name="Rectangle: Rounded Corners 145">
            <a:extLst>
              <a:ext uri="{FF2B5EF4-FFF2-40B4-BE49-F238E27FC236}">
                <a16:creationId xmlns:a16="http://schemas.microsoft.com/office/drawing/2014/main" id="{229D271D-A7F8-9D59-A800-30233C587B6E}"/>
              </a:ext>
            </a:extLst>
          </p:cNvPr>
          <p:cNvSpPr>
            <a:spLocks/>
          </p:cNvSpPr>
          <p:nvPr/>
        </p:nvSpPr>
        <p:spPr>
          <a:xfrm>
            <a:off x="1647022" y="5721350"/>
            <a:ext cx="1411138" cy="231775"/>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rial" panose="020B0604020202020204"/>
                <a:ea typeface="+mn-ea"/>
                <a:cs typeface="+mn-cs"/>
              </a:rPr>
              <a:t>Streaming/content</a:t>
            </a:r>
          </a:p>
        </p:txBody>
      </p:sp>
      <p:sp>
        <p:nvSpPr>
          <p:cNvPr id="147" name="Rectangle: Rounded Corners 146">
            <a:extLst>
              <a:ext uri="{FF2B5EF4-FFF2-40B4-BE49-F238E27FC236}">
                <a16:creationId xmlns:a16="http://schemas.microsoft.com/office/drawing/2014/main" id="{638F968A-874D-EDF3-2AB5-EF2C06655C23}"/>
              </a:ext>
            </a:extLst>
          </p:cNvPr>
          <p:cNvSpPr>
            <a:spLocks/>
          </p:cNvSpPr>
          <p:nvPr/>
        </p:nvSpPr>
        <p:spPr>
          <a:xfrm>
            <a:off x="3092327" y="5721350"/>
            <a:ext cx="1005011" cy="23177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rial" panose="020B0604020202020204"/>
                <a:ea typeface="+mn-ea"/>
                <a:cs typeface="+mn-cs"/>
              </a:rPr>
              <a:t>AI</a:t>
            </a:r>
          </a:p>
        </p:txBody>
      </p:sp>
      <p:graphicFrame>
        <p:nvGraphicFramePr>
          <p:cNvPr id="70" name="Chart 69">
            <a:extLst>
              <a:ext uri="{FF2B5EF4-FFF2-40B4-BE49-F238E27FC236}">
                <a16:creationId xmlns:a16="http://schemas.microsoft.com/office/drawing/2014/main" id="{717760B2-4AEA-ECA5-6A6E-DD637E227569}"/>
              </a:ext>
            </a:extLst>
          </p:cNvPr>
          <p:cNvGraphicFramePr>
            <a:graphicFrameLocks/>
          </p:cNvGraphicFramePr>
          <p:nvPr>
            <p:custDataLst>
              <p:tags r:id="rId22"/>
            </p:custDataLst>
          </p:nvPr>
        </p:nvGraphicFramePr>
        <p:xfrm>
          <a:off x="4359275" y="2476500"/>
          <a:ext cx="3668713" cy="3079750"/>
        </p:xfrm>
        <a:graphic>
          <a:graphicData uri="http://schemas.openxmlformats.org/drawingml/2006/chart">
            <c:chart xmlns:c="http://schemas.openxmlformats.org/drawingml/2006/chart" xmlns:r="http://schemas.openxmlformats.org/officeDocument/2006/relationships" r:id="rId43"/>
          </a:graphicData>
        </a:graphic>
      </p:graphicFrame>
      <p:sp useBgFill="1">
        <p:nvSpPr>
          <p:cNvPr id="56" name="Free-form: Shape 55">
            <a:extLst>
              <a:ext uri="{FF2B5EF4-FFF2-40B4-BE49-F238E27FC236}">
                <a16:creationId xmlns:a16="http://schemas.microsoft.com/office/drawing/2014/main" id="{49EEF01F-BB0A-D3B2-E1C3-38A7700EC43F}"/>
              </a:ext>
            </a:extLst>
          </p:cNvPr>
          <p:cNvSpPr>
            <a:spLocks/>
          </p:cNvSpPr>
          <p:nvPr>
            <p:custDataLst>
              <p:tags r:id="rId23"/>
            </p:custDataLst>
          </p:nvPr>
        </p:nvSpPr>
        <p:spPr bwMode="auto">
          <a:xfrm>
            <a:off x="7224713" y="3235325"/>
            <a:ext cx="563563" cy="209551"/>
          </a:xfrm>
          <a:custGeom>
            <a:avLst/>
            <a:gdLst/>
            <a:ahLst/>
            <a:cxnLst/>
            <a:rect l="0" t="0" r="0" b="0"/>
            <a:pathLst>
              <a:path w="563563" h="209551">
                <a:moveTo>
                  <a:pt x="0" y="152400"/>
                </a:moveTo>
                <a:lnTo>
                  <a:pt x="563562" y="0"/>
                </a:lnTo>
                <a:lnTo>
                  <a:pt x="563562" y="57150"/>
                </a:lnTo>
                <a:lnTo>
                  <a:pt x="0" y="20955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6B78C44B-77AA-8CD0-09DB-726465213016}"/>
              </a:ext>
            </a:extLst>
          </p:cNvPr>
          <p:cNvSpPr>
            <a:spLocks/>
          </p:cNvSpPr>
          <p:nvPr>
            <p:custDataLst>
              <p:tags r:id="rId24"/>
            </p:custDataLst>
          </p:nvPr>
        </p:nvSpPr>
        <p:spPr bwMode="auto">
          <a:xfrm>
            <a:off x="7224713" y="3235325"/>
            <a:ext cx="563563" cy="152401"/>
          </a:xfrm>
          <a:custGeom>
            <a:avLst/>
            <a:gdLst/>
            <a:ahLst/>
            <a:cxnLst/>
            <a:rect l="0" t="0" r="0" b="0"/>
            <a:pathLst>
              <a:path w="563563" h="152401">
                <a:moveTo>
                  <a:pt x="0" y="152400"/>
                </a:moveTo>
                <a:lnTo>
                  <a:pt x="56356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23008AE2-F1B1-9D61-4059-9A9CC8FE4B7C}"/>
              </a:ext>
            </a:extLst>
          </p:cNvPr>
          <p:cNvSpPr>
            <a:spLocks/>
          </p:cNvSpPr>
          <p:nvPr>
            <p:custDataLst>
              <p:tags r:id="rId25"/>
            </p:custDataLst>
          </p:nvPr>
        </p:nvSpPr>
        <p:spPr bwMode="auto">
          <a:xfrm>
            <a:off x="7224713" y="3292475"/>
            <a:ext cx="563563" cy="152401"/>
          </a:xfrm>
          <a:custGeom>
            <a:avLst/>
            <a:gdLst/>
            <a:ahLst/>
            <a:cxnLst/>
            <a:rect l="0" t="0" r="0" b="0"/>
            <a:pathLst>
              <a:path w="563563" h="152401">
                <a:moveTo>
                  <a:pt x="0" y="152400"/>
                </a:moveTo>
                <a:lnTo>
                  <a:pt x="56356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1C2C3C"/>
              </a:solidFill>
              <a:effectLst/>
              <a:uLnTx/>
              <a:uFillTx/>
              <a:latin typeface="Arial" panose="020B0604020202020204"/>
              <a:ea typeface="+mn-ea"/>
              <a:cs typeface="+mn-cs"/>
            </a:endParaRPr>
          </a:p>
        </p:txBody>
      </p:sp>
      <p:sp>
        <p:nvSpPr>
          <p:cNvPr id="157" name="Text Placeholder 2">
            <a:extLst>
              <a:ext uri="{FF2B5EF4-FFF2-40B4-BE49-F238E27FC236}">
                <a16:creationId xmlns:a16="http://schemas.microsoft.com/office/drawing/2014/main" id="{852DC2C6-F28E-90C0-A940-A275091CBF50}"/>
              </a:ext>
            </a:extLst>
          </p:cNvPr>
          <p:cNvSpPr>
            <a:spLocks/>
          </p:cNvSpPr>
          <p:nvPr>
            <p:custDataLst>
              <p:tags r:id="rId26"/>
            </p:custDataLst>
          </p:nvPr>
        </p:nvSpPr>
        <p:spPr bwMode="auto">
          <a:xfrm>
            <a:off x="4441825" y="5516563"/>
            <a:ext cx="874713"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2C4B8E5E-C524-409D-90D4-40F52BA0B13B}" type="datetime'''I''''nt''''er''''n''e''''t'' ''''S''''ea''r''''c''''h'''''">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Internet Search</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9" name="Text Placeholder 2">
            <a:extLst>
              <a:ext uri="{FF2B5EF4-FFF2-40B4-BE49-F238E27FC236}">
                <a16:creationId xmlns:a16="http://schemas.microsoft.com/office/drawing/2014/main" id="{9CF5B499-35C4-17F5-48AA-85EF605F2379}"/>
              </a:ext>
            </a:extLst>
          </p:cNvPr>
          <p:cNvSpPr>
            <a:spLocks/>
          </p:cNvSpPr>
          <p:nvPr>
            <p:custDataLst>
              <p:tags r:id="rId27"/>
            </p:custDataLst>
          </p:nvPr>
        </p:nvSpPr>
        <p:spPr bwMode="auto">
          <a:xfrm>
            <a:off x="5392738" y="5516563"/>
            <a:ext cx="725488"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9EBA176A-78F8-4A92-96CD-990C72FD3D6D}" type="datetime'''''La''n''''''''''''''''g''''''''''''u''ag''e A''''''I'''''''">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Language AI</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4" name="Text Placeholder 2">
            <a:extLst>
              <a:ext uri="{FF2B5EF4-FFF2-40B4-BE49-F238E27FC236}">
                <a16:creationId xmlns:a16="http://schemas.microsoft.com/office/drawing/2014/main" id="{B5D365C3-EFF5-F3EB-7793-9B280D66E410}"/>
              </a:ext>
            </a:extLst>
          </p:cNvPr>
          <p:cNvSpPr>
            <a:spLocks/>
          </p:cNvSpPr>
          <p:nvPr>
            <p:custDataLst>
              <p:tags r:id="rId28"/>
            </p:custDataLst>
          </p:nvPr>
        </p:nvSpPr>
        <p:spPr bwMode="auto">
          <a:xfrm>
            <a:off x="6372226" y="5516563"/>
            <a:ext cx="517525"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4F511A3-8B85-4517-AC74-99D9B67BB558}" type="datetime'''''''''''''''Im''''''''''''''''a''g''''''''e'' A''''''I'''">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Image AI</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7" name="Text Placeholder 2">
            <a:extLst>
              <a:ext uri="{FF2B5EF4-FFF2-40B4-BE49-F238E27FC236}">
                <a16:creationId xmlns:a16="http://schemas.microsoft.com/office/drawing/2014/main" id="{97DE6724-AEB7-697A-23B9-85736412C26F}"/>
              </a:ext>
            </a:extLst>
          </p:cNvPr>
          <p:cNvSpPr>
            <a:spLocks/>
          </p:cNvSpPr>
          <p:nvPr>
            <p:custDataLst>
              <p:tags r:id="rId29"/>
            </p:custDataLst>
          </p:nvPr>
        </p:nvSpPr>
        <p:spPr bwMode="auto">
          <a:xfrm>
            <a:off x="7261225" y="5516563"/>
            <a:ext cx="48895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BC43A74D-4D81-4409-B943-4FD46BF5B9CD}" type="datetime'''''V''''id''''e''o ''''''AI'''''''''''''''''''''''''''">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Video AI</a:t>
            </a:fld>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3" name="Text Placeholder 2">
            <a:extLst>
              <a:ext uri="{FF2B5EF4-FFF2-40B4-BE49-F238E27FC236}">
                <a16:creationId xmlns:a16="http://schemas.microsoft.com/office/drawing/2014/main" id="{852DC2C6-F28E-90C0-A940-A275091CBF50}"/>
              </a:ext>
            </a:extLst>
          </p:cNvPr>
          <p:cNvSpPr>
            <a:spLocks/>
          </p:cNvSpPr>
          <p:nvPr>
            <p:custDataLst>
              <p:tags r:id="rId30"/>
            </p:custDataLst>
          </p:nvPr>
        </p:nvSpPr>
        <p:spPr bwMode="gray">
          <a:xfrm>
            <a:off x="4794250" y="5268913"/>
            <a:ext cx="168275"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7463" tIns="0" rIns="17463" bIns="0" numCol="1" anchor="b"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prstClr val="white"/>
                </a:solidFill>
                <a:effectLst/>
                <a:uLnTx/>
                <a:uFillTx/>
                <a:latin typeface="Arial" panose="020B0604020202020204"/>
                <a:ea typeface="+mn-ea"/>
                <a:cs typeface="+mn-cs"/>
              </a:rPr>
              <a:t>1x</a:t>
            </a:r>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7" name="Text Placeholder 2">
            <a:extLst>
              <a:ext uri="{FF2B5EF4-FFF2-40B4-BE49-F238E27FC236}">
                <a16:creationId xmlns:a16="http://schemas.microsoft.com/office/drawing/2014/main" id="{852DC2C6-F28E-90C0-A940-A275091CBF50}"/>
              </a:ext>
            </a:extLst>
          </p:cNvPr>
          <p:cNvSpPr>
            <a:spLocks/>
          </p:cNvSpPr>
          <p:nvPr>
            <p:custDataLst>
              <p:tags r:id="rId31"/>
            </p:custDataLst>
          </p:nvPr>
        </p:nvSpPr>
        <p:spPr bwMode="gray">
          <a:xfrm>
            <a:off x="5635625" y="5026025"/>
            <a:ext cx="238125"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7463" tIns="0" rIns="17463" bIns="0" numCol="1" anchor="b"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prstClr val="white"/>
                </a:solidFill>
                <a:effectLst/>
                <a:uLnTx/>
                <a:uFillTx/>
                <a:latin typeface="Arial" panose="020B0604020202020204"/>
                <a:ea typeface="+mn-ea"/>
                <a:cs typeface="+mn-cs"/>
              </a:rPr>
              <a:t>10x</a:t>
            </a:r>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26" name="Text Placeholder 2">
            <a:extLst>
              <a:ext uri="{FF2B5EF4-FFF2-40B4-BE49-F238E27FC236}">
                <a16:creationId xmlns:a16="http://schemas.microsoft.com/office/drawing/2014/main" id="{852DC2C6-F28E-90C0-A940-A275091CBF50}"/>
              </a:ext>
            </a:extLst>
          </p:cNvPr>
          <p:cNvSpPr>
            <a:spLocks/>
          </p:cNvSpPr>
          <p:nvPr>
            <p:custDataLst>
              <p:tags r:id="rId32"/>
            </p:custDataLst>
          </p:nvPr>
        </p:nvSpPr>
        <p:spPr bwMode="gray">
          <a:xfrm>
            <a:off x="6511925" y="3944938"/>
            <a:ext cx="238125"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7463" tIns="0" rIns="17463" bIns="0" numCol="1" anchor="b"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5243735B-DEF7-418A-899B-CC5CCAD4B332}" type="datetime'''5''''''''''''''''0'''''''''''''''''''''''''''''''''''">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50</a:t>
            </a:fld>
            <a:r>
              <a:rPr kumimoji="0" lang="en-GB" altLang="en-US" sz="1000" b="0" i="0" u="none" strike="noStrike" kern="1200" cap="none" spc="0" normalizeH="0" baseline="0" noProof="0">
                <a:ln>
                  <a:noFill/>
                </a:ln>
                <a:solidFill>
                  <a:prstClr val="white"/>
                </a:solidFill>
                <a:effectLst/>
                <a:uLnTx/>
                <a:uFillTx/>
                <a:latin typeface="Arial" panose="020B0604020202020204"/>
                <a:ea typeface="+mn-ea"/>
                <a:cs typeface="+mn-cs"/>
              </a:rPr>
              <a:t>x</a:t>
            </a:r>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3" name="Text Placeholder 2">
            <a:extLst>
              <a:ext uri="{FF2B5EF4-FFF2-40B4-BE49-F238E27FC236}">
                <a16:creationId xmlns:a16="http://schemas.microsoft.com/office/drawing/2014/main" id="{852DC2C6-F28E-90C0-A940-A275091CBF50}"/>
              </a:ext>
            </a:extLst>
          </p:cNvPr>
          <p:cNvSpPr>
            <a:spLocks/>
          </p:cNvSpPr>
          <p:nvPr>
            <p:custDataLst>
              <p:tags r:id="rId33"/>
            </p:custDataLst>
          </p:nvPr>
        </p:nvSpPr>
        <p:spPr bwMode="gray">
          <a:xfrm>
            <a:off x="7264400" y="2381250"/>
            <a:ext cx="482600" cy="15240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7463" tIns="0" rIns="17463" bIns="0" numCol="1" anchor="b" anchorCtr="0" compatLnSpc="1">
            <a:prstTxWarp prst="textNoShape">
              <a:avLst/>
            </a:prstTxWarp>
            <a:noAutofit/>
          </a:bodyPr>
          <a:lstStyle>
            <a:lvl1pPr marL="357188" indent="-357188" algn="l" rtl="0" eaLnBrk="1" fontAlgn="base" hangingPunct="1">
              <a:spcBef>
                <a:spcPts val="800"/>
              </a:spcBef>
              <a:spcAft>
                <a:spcPct val="0"/>
              </a:spcAft>
              <a:buBlip>
                <a:blip r:embed="rId41"/>
              </a:buBlip>
              <a:defRPr sz="1600" kern="1200">
                <a:solidFill>
                  <a:schemeClr val="tx1"/>
                </a:solidFill>
                <a:latin typeface="+mn-lt"/>
                <a:ea typeface="+mn-ea"/>
                <a:cs typeface="+mn-cs"/>
              </a:defRPr>
            </a:lvl1pPr>
            <a:lvl2pPr marL="715963"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077913" indent="-361950"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435100" indent="-357188"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793875" indent="-358775" algn="l" rtl="0" eaLnBrk="1" fontAlgn="base" hangingPunct="1">
              <a:spcBef>
                <a:spcPts val="8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E5B1D5B-F502-4F1B-ACA4-50A1D84F6633}" type="datetime'''''''''''''''''''''''''''''''1''0'''''',''''0''00'''''''''">
              <a:rPr kumimoji="0" lang="en-GB" altLang="en-US" sz="10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0,000</a:t>
            </a:fld>
            <a:r>
              <a:rPr kumimoji="0" lang="en-GB" altLang="en-US" sz="1000" b="0" i="0" u="none" strike="noStrike" kern="1200" cap="none" spc="0" normalizeH="0" baseline="0" noProof="0">
                <a:ln>
                  <a:noFill/>
                </a:ln>
                <a:solidFill>
                  <a:prstClr val="white"/>
                </a:solidFill>
                <a:effectLst/>
                <a:uLnTx/>
                <a:uFillTx/>
                <a:latin typeface="Arial" panose="020B0604020202020204"/>
                <a:ea typeface="+mn-ea"/>
                <a:cs typeface="+mn-cs"/>
              </a:rPr>
              <a:t>x</a:t>
            </a:r>
            <a:endParaRPr kumimoji="0" lang="en-GB" altLang="nb-NO"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6" name="TextBox 255">
            <a:extLst>
              <a:ext uri="{FF2B5EF4-FFF2-40B4-BE49-F238E27FC236}">
                <a16:creationId xmlns:a16="http://schemas.microsoft.com/office/drawing/2014/main" id="{CEAC6CC1-3EF1-0291-2229-740993C1EAC8}"/>
              </a:ext>
            </a:extLst>
          </p:cNvPr>
          <p:cNvSpPr txBox="1">
            <a:spLocks/>
          </p:cNvSpPr>
          <p:nvPr/>
        </p:nvSpPr>
        <p:spPr>
          <a:xfrm>
            <a:off x="8283575" y="2397125"/>
            <a:ext cx="3155950"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Arial" panose="020B0604020202020204" pitchFamily="34" charset="0"/>
                <a:ea typeface="+mn-ea"/>
                <a:cs typeface="+mn-cs"/>
              </a:rPr>
              <a:t>“Norway should sell intelligence, not power”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panose="020B0604020202020204" pitchFamily="34" charset="0"/>
                <a:ea typeface="+mn-ea"/>
                <a:cs typeface="+mn-cs"/>
              </a:rPr>
              <a:t> – Jensen Huang, CEO Nvidia </a:t>
            </a:r>
          </a:p>
        </p:txBody>
      </p:sp>
      <p:pic>
        <p:nvPicPr>
          <p:cNvPr id="298" name="Picture 297">
            <a:extLst>
              <a:ext uri="{FF2B5EF4-FFF2-40B4-BE49-F238E27FC236}">
                <a16:creationId xmlns:a16="http://schemas.microsoft.com/office/drawing/2014/main" id="{DCA98FE7-977C-1115-F2D9-A42CDDD6166B}"/>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4526751" y="5787586"/>
            <a:ext cx="703271" cy="237903"/>
          </a:xfrm>
          <a:prstGeom prst="rect">
            <a:avLst/>
          </a:prstGeom>
        </p:spPr>
      </p:pic>
      <p:pic>
        <p:nvPicPr>
          <p:cNvPr id="1030" name="Picture 6">
            <a:extLst>
              <a:ext uri="{FF2B5EF4-FFF2-40B4-BE49-F238E27FC236}">
                <a16:creationId xmlns:a16="http://schemas.microsoft.com/office/drawing/2014/main" id="{04CF319D-EDAE-788A-6196-77079B6850C8}"/>
              </a:ext>
            </a:extLst>
          </p:cNvPr>
          <p:cNvPicPr>
            <a:picLocks noChangeAspect="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5270510" y="5609585"/>
            <a:ext cx="950246" cy="59390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FAC02E45-1C9F-9004-DB65-A1E899798723}"/>
              </a:ext>
            </a:extLst>
          </p:cNvPr>
          <p:cNvPicPr>
            <a:picLocks noChangeAspect="1"/>
          </p:cNvPicPr>
          <p:nvPr/>
        </p:nvPicPr>
        <p:blipFill rotWithShape="1">
          <a:blip r:embed="rId46" cstate="screen">
            <a:extLst>
              <a:ext uri="{28A0092B-C50C-407E-A947-70E740481C1C}">
                <a14:useLocalDpi xmlns:a14="http://schemas.microsoft.com/office/drawing/2010/main"/>
              </a:ext>
            </a:extLst>
          </a:blip>
          <a:srcRect t="26392" b="24633"/>
          <a:stretch/>
        </p:blipFill>
        <p:spPr bwMode="auto">
          <a:xfrm>
            <a:off x="6267715" y="5807505"/>
            <a:ext cx="726546" cy="19806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F631E950-E48C-2D9D-CB22-ED43EA8F8138}"/>
              </a:ext>
            </a:extLst>
          </p:cNvPr>
          <p:cNvPicPr>
            <a:picLocks noChangeAspect="1"/>
          </p:cNvPicPr>
          <p:nvPr/>
        </p:nvPicPr>
        <p:blipFill rotWithShape="1">
          <a:blip r:embed="rId47" cstate="screen">
            <a:clrChange>
              <a:clrFrom>
                <a:srgbClr val="FFFFFF"/>
              </a:clrFrom>
              <a:clrTo>
                <a:srgbClr val="FFFFFF">
                  <a:alpha val="0"/>
                </a:srgbClr>
              </a:clrTo>
            </a:clrChange>
            <a:extLst>
              <a:ext uri="{28A0092B-C50C-407E-A947-70E740481C1C}">
                <a14:useLocalDpi xmlns:a14="http://schemas.microsoft.com/office/drawing/2010/main"/>
              </a:ext>
            </a:extLst>
          </a:blip>
          <a:srcRect l="18556" t="33588" r="19208" b="33084"/>
          <a:stretch/>
        </p:blipFill>
        <p:spPr bwMode="auto">
          <a:xfrm>
            <a:off x="7124480" y="5776846"/>
            <a:ext cx="726546" cy="259383"/>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Arrow Connector 45">
            <a:extLst>
              <a:ext uri="{FF2B5EF4-FFF2-40B4-BE49-F238E27FC236}">
                <a16:creationId xmlns:a16="http://schemas.microsoft.com/office/drawing/2014/main" id="{2DEBE973-5628-AB5E-535F-BDC5981F528E}"/>
              </a:ext>
            </a:extLst>
          </p:cNvPr>
          <p:cNvCxnSpPr>
            <a:cxnSpLocks/>
          </p:cNvCxnSpPr>
          <p:nvPr/>
        </p:nvCxnSpPr>
        <p:spPr>
          <a:xfrm flipH="1">
            <a:off x="3765884" y="5474952"/>
            <a:ext cx="41262" cy="0"/>
          </a:xfrm>
          <a:prstGeom prst="straightConnector1">
            <a:avLst/>
          </a:prstGeom>
          <a:ln w="12700">
            <a:solidFill>
              <a:srgbClr val="2A2418"/>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F0A4E04-85A7-422F-D509-9E79B0F8FD32}"/>
              </a:ext>
            </a:extLst>
          </p:cNvPr>
          <p:cNvGrpSpPr>
            <a:grpSpLocks/>
          </p:cNvGrpSpPr>
          <p:nvPr/>
        </p:nvGrpSpPr>
        <p:grpSpPr>
          <a:xfrm>
            <a:off x="3749154" y="5431109"/>
            <a:ext cx="76491" cy="85744"/>
            <a:chOff x="3749389" y="5419203"/>
            <a:chExt cx="76491" cy="85744"/>
          </a:xfrm>
        </p:grpSpPr>
        <p:cxnSp>
          <p:nvCxnSpPr>
            <p:cNvPr id="42" name="Straight Arrow Connector 41">
              <a:extLst>
                <a:ext uri="{FF2B5EF4-FFF2-40B4-BE49-F238E27FC236}">
                  <a16:creationId xmlns:a16="http://schemas.microsoft.com/office/drawing/2014/main" id="{B4C19A4F-725D-3A21-98D1-B6260F8A1F07}"/>
                </a:ext>
              </a:extLst>
            </p:cNvPr>
            <p:cNvCxnSpPr>
              <a:cxnSpLocks/>
            </p:cNvCxnSpPr>
            <p:nvPr/>
          </p:nvCxnSpPr>
          <p:spPr>
            <a:xfrm flipH="1">
              <a:off x="3749389" y="5419203"/>
              <a:ext cx="37315" cy="85744"/>
            </a:xfrm>
            <a:prstGeom prst="straightConnector1">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6A464F4-FCBA-B605-5E2A-902E5E227A6B}"/>
                </a:ext>
              </a:extLst>
            </p:cNvPr>
            <p:cNvCxnSpPr>
              <a:cxnSpLocks/>
            </p:cNvCxnSpPr>
            <p:nvPr/>
          </p:nvCxnSpPr>
          <p:spPr>
            <a:xfrm flipH="1">
              <a:off x="3788565" y="5419203"/>
              <a:ext cx="37315" cy="85744"/>
            </a:xfrm>
            <a:prstGeom prst="straightConnector1">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5330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tel 1">
            <a:extLst>
              <a:ext uri="{FF2B5EF4-FFF2-40B4-BE49-F238E27FC236}">
                <a16:creationId xmlns:a16="http://schemas.microsoft.com/office/drawing/2014/main" id="{32A0E257-9F3D-422A-99F7-3C05BB518153}"/>
              </a:ext>
            </a:extLst>
          </p:cNvPr>
          <p:cNvSpPr>
            <a:spLocks noGrp="1" noChangeArrowheads="1"/>
          </p:cNvSpPr>
          <p:nvPr>
            <p:ph type="title"/>
          </p:nvPr>
        </p:nvSpPr>
        <p:spPr>
          <a:xfrm>
            <a:off x="647700" y="492361"/>
            <a:ext cx="10896600" cy="480131"/>
          </a:xfrm>
        </p:spPr>
        <p:txBody>
          <a:bodyPr/>
          <a:lstStyle/>
          <a:p>
            <a:pPr eaLnBrk="1" hangingPunct="1"/>
            <a:r>
              <a:rPr lang="nb-NO" altLang="en-US" err="1"/>
              <a:t>Building</a:t>
            </a:r>
            <a:r>
              <a:rPr lang="nb-NO" altLang="en-US"/>
              <a:t> </a:t>
            </a:r>
            <a:r>
              <a:rPr lang="nb-NO" altLang="en-US" err="1"/>
              <a:t>Sustainable</a:t>
            </a:r>
            <a:r>
              <a:rPr lang="nb-NO" altLang="en-US"/>
              <a:t> digital </a:t>
            </a:r>
            <a:r>
              <a:rPr lang="nb-NO" altLang="en-US" err="1"/>
              <a:t>infrastructure</a:t>
            </a:r>
            <a:endParaRPr lang="nb-NO" altLang="en-US">
              <a:solidFill>
                <a:schemeClr val="bg1"/>
              </a:solidFill>
            </a:endParaRPr>
          </a:p>
        </p:txBody>
      </p:sp>
      <p:sp>
        <p:nvSpPr>
          <p:cNvPr id="2" name="Plassholder for bunntekst 1">
            <a:extLst>
              <a:ext uri="{FF2B5EF4-FFF2-40B4-BE49-F238E27FC236}">
                <a16:creationId xmlns:a16="http://schemas.microsoft.com/office/drawing/2014/main" id="{53C2DEED-F1CC-ABDD-02A4-E3E7A23680BE}"/>
              </a:ext>
            </a:extLst>
          </p:cNvPr>
          <p:cNvSpPr>
            <a:spLocks noGrp="1"/>
          </p:cNvSpPr>
          <p:nvPr>
            <p:ph type="ftr" sz="quarter" idx="3"/>
          </p:nvPr>
        </p:nvSpPr>
        <p:spPr>
          <a:xfrm>
            <a:off x="4038600" y="6345238"/>
            <a:ext cx="4114800" cy="365125"/>
          </a:xfrm>
          <a:prstGeom prst="rect">
            <a:avLst/>
          </a:prstGeom>
        </p:spPr>
        <p:txBody>
          <a:bodyPr vert="horz" lIns="91440" tIns="45720" rIns="91440" bIns="45720" rtlCol="0" anchor="ctr"/>
          <a:lstStyle>
            <a:lvl1pPr algn="ctr">
              <a:defRPr sz="1200">
                <a:solidFill>
                  <a:srgbClr val="F2F2F2"/>
                </a:solidFill>
              </a:defRPr>
            </a:lvl1pPr>
          </a:lstStyle>
          <a:p>
            <a:r>
              <a:rPr lang="nb-NO"/>
              <a:t>Public</a:t>
            </a:r>
            <a:endParaRPr lang="en-GB"/>
          </a:p>
        </p:txBody>
      </p:sp>
      <p:sp>
        <p:nvSpPr>
          <p:cNvPr id="4" name="TextBox 4">
            <a:extLst>
              <a:ext uri="{FF2B5EF4-FFF2-40B4-BE49-F238E27FC236}">
                <a16:creationId xmlns:a16="http://schemas.microsoft.com/office/drawing/2014/main" id="{E5925719-7E0B-A661-0062-089A45402275}"/>
              </a:ext>
            </a:extLst>
          </p:cNvPr>
          <p:cNvSpPr txBox="1">
            <a:spLocks noChangeArrowheads="1"/>
          </p:cNvSpPr>
          <p:nvPr/>
        </p:nvSpPr>
        <p:spPr bwMode="auto">
          <a:xfrm>
            <a:off x="1239044" y="2535480"/>
            <a:ext cx="5599112"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357188" indent="-3571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457200" indent="-457200" eaLnBrk="1" hangingPunct="1">
              <a:buAutoNum type="arabicPeriod"/>
            </a:pPr>
            <a:r>
              <a:rPr lang="en-US" altLang="nb-NO" sz="2000">
                <a:solidFill>
                  <a:schemeClr val="bg1"/>
                </a:solidFill>
                <a:latin typeface="Arial"/>
                <a:cs typeface="Arial"/>
              </a:rPr>
              <a:t>Introduction to Bulk Infrastructure</a:t>
            </a:r>
            <a:endParaRPr lang="en-US" altLang="nb-NO" sz="2000">
              <a:solidFill>
                <a:schemeClr val="bg1"/>
              </a:solidFill>
              <a:cs typeface="Arial"/>
            </a:endParaRPr>
          </a:p>
          <a:p>
            <a:pPr marL="457200" indent="-457200" eaLnBrk="1" hangingPunct="1">
              <a:buAutoNum type="arabicPeriod"/>
            </a:pPr>
            <a:r>
              <a:rPr lang="en-US" altLang="nb-NO" sz="2000">
                <a:solidFill>
                  <a:schemeClr val="bg1"/>
                </a:solidFill>
                <a:latin typeface="Arial"/>
                <a:cs typeface="Arial"/>
              </a:rPr>
              <a:t>Sustainability Framework</a:t>
            </a:r>
            <a:endParaRPr lang="en-US" altLang="nb-NO" sz="2000">
              <a:solidFill>
                <a:schemeClr val="bg1"/>
              </a:solidFill>
              <a:cs typeface="Arial"/>
            </a:endParaRPr>
          </a:p>
          <a:p>
            <a:pPr marL="843280" lvl="1" indent="-457200">
              <a:buAutoNum type="alphaLcParenR"/>
            </a:pPr>
            <a:r>
              <a:rPr lang="en-US" altLang="nb-NO" sz="1600">
                <a:solidFill>
                  <a:schemeClr val="bg1"/>
                </a:solidFill>
                <a:latin typeface="Arial"/>
                <a:cs typeface="Arial"/>
              </a:rPr>
              <a:t>Location</a:t>
            </a:r>
          </a:p>
          <a:p>
            <a:pPr marL="843280" lvl="1" indent="-457200">
              <a:buAutoNum type="alphaLcParenR"/>
            </a:pPr>
            <a:r>
              <a:rPr lang="en-US" altLang="nb-NO" sz="1600">
                <a:solidFill>
                  <a:schemeClr val="bg1"/>
                </a:solidFill>
                <a:latin typeface="Arial"/>
                <a:cs typeface="Arial"/>
              </a:rPr>
              <a:t>Asset</a:t>
            </a:r>
          </a:p>
          <a:p>
            <a:pPr marL="843280" lvl="1" indent="-457200">
              <a:buAutoNum type="alphaLcParenR"/>
            </a:pPr>
            <a:r>
              <a:rPr lang="en-US" altLang="nb-NO" sz="1600">
                <a:solidFill>
                  <a:schemeClr val="bg1"/>
                </a:solidFill>
                <a:latin typeface="Arial"/>
                <a:cs typeface="Arial"/>
              </a:rPr>
              <a:t>Ecosystem</a:t>
            </a:r>
          </a:p>
          <a:p>
            <a:pPr marL="843280" lvl="1" indent="-457200">
              <a:buAutoNum type="alphaLcParenR"/>
            </a:pPr>
            <a:r>
              <a:rPr lang="en-US" altLang="nb-NO" sz="1600">
                <a:solidFill>
                  <a:schemeClr val="bg1"/>
                </a:solidFill>
                <a:latin typeface="Arial"/>
                <a:cs typeface="Arial"/>
              </a:rPr>
              <a:t>Society</a:t>
            </a:r>
          </a:p>
          <a:p>
            <a:pPr marL="457200" indent="-457200">
              <a:buAutoNum type="arabicPeriod"/>
            </a:pPr>
            <a:r>
              <a:rPr lang="en-US" altLang="nb-NO" sz="2000">
                <a:solidFill>
                  <a:schemeClr val="bg1"/>
                </a:solidFill>
                <a:latin typeface="Arial"/>
                <a:cs typeface="Arial"/>
              </a:rPr>
              <a:t>Climate Budget and reporting</a:t>
            </a:r>
            <a:endParaRPr lang="en-US">
              <a:solidFill>
                <a:schemeClr val="bg1"/>
              </a:solidFill>
            </a:endParaRPr>
          </a:p>
          <a:p>
            <a:pPr marL="457200" indent="-457200" eaLnBrk="1" hangingPunct="1">
              <a:buAutoNum type="arabicPeriod"/>
            </a:pPr>
            <a:r>
              <a:rPr lang="en-US" altLang="nb-NO" sz="2000">
                <a:solidFill>
                  <a:schemeClr val="bg1"/>
                </a:solidFill>
                <a:latin typeface="Arial"/>
                <a:cs typeface="Arial"/>
              </a:rPr>
              <a:t>Finding solutions</a:t>
            </a:r>
          </a:p>
          <a:p>
            <a:pPr marL="457200" indent="-457200" eaLnBrk="1" hangingPunct="1">
              <a:buAutoNum type="arabicPeriod"/>
            </a:pPr>
            <a:endParaRPr lang="en-US" altLang="nb-NO" sz="2000">
              <a:solidFill>
                <a:schemeClr val="bg1"/>
              </a:solidFill>
              <a:cs typeface="Arial" panose="020B0604020202020204" pitchFamily="34" charset="0"/>
            </a:endParaRPr>
          </a:p>
        </p:txBody>
      </p:sp>
      <p:sp>
        <p:nvSpPr>
          <p:cNvPr id="6" name="Rectangle 1">
            <a:extLst>
              <a:ext uri="{FF2B5EF4-FFF2-40B4-BE49-F238E27FC236}">
                <a16:creationId xmlns:a16="http://schemas.microsoft.com/office/drawing/2014/main" id="{B51EF0DE-4C1C-E2F6-96E1-D58F47B7B81E}"/>
              </a:ext>
            </a:extLst>
          </p:cNvPr>
          <p:cNvSpPr/>
          <p:nvPr/>
        </p:nvSpPr>
        <p:spPr>
          <a:xfrm>
            <a:off x="1104034" y="2886195"/>
            <a:ext cx="5302250" cy="30042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b-NO" sz="1600" err="1"/>
          </a:p>
        </p:txBody>
      </p:sp>
    </p:spTree>
    <p:extLst>
      <p:ext uri="{BB962C8B-B14F-4D97-AF65-F5344CB8AC3E}">
        <p14:creationId xmlns:p14="http://schemas.microsoft.com/office/powerpoint/2010/main" val="1521255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1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pBOKAEkhFH.8M6PqoGBc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WhPJ3z79UGr_Y2f2ckM8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QOdmoIju.vzJbSe8tpq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88c_4MLQj0JQ88PgTCRM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E_5vXMFryBSPU5x5rGMq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S9R8qAjYpD_8imlRBit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c7w95iBUWNz5z1MCz._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cxQVLUyEOE6sLQl8uLrI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M1gBd9UxOXPAwPzq6VOQ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MzGKkd3JlcUbdp.xc9B3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_hdvjXGy5RcURM5SAaCa4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KGsU7C2PIn7XIceletOe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1On9rVmdXnqBwUcmRR.w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h8TU5gOAwsqznE33q29.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W5.AXoRQgiWYTwNlXM3U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aZH8.eEfoAMBNdLRWZt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aImUThrzHJITdoGrBK7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Y1vc4_1.UVrZAt_pCiW7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i6bo6PJ8TbXTia7o0M0o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Ze4MShE3CNQFaAGyrGq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eUS8mviivqNGMgaAwJVU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kKcqr58IIsrCmHTdsdTE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aEQx7TuR_GbUJJKV1s4.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ynY8a2hFqGWQ2r8Prl57y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e9Y53vhmaRaM7iEC7i1_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hs7zDtK2tCkNJE.E0Nq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G9Yw0w7tK5y6sXetgD2d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ORRYNPb7zwZvFKkWQ.rR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aXEZGs7UXy22guQtiJvz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ZGqAnTWfplzUbTOO2dL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D0SYLrzzx0.3tL.tGHSv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EogzTn_gujIVpR3APvre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GC.wt9v6j0ZAfzcBOY2AA"/>
</p:tagLst>
</file>

<file path=ppt/tags/tag149.xml><?xml version="1.0" encoding="utf-8"?>
<p:tagLst xmlns:a="http://schemas.openxmlformats.org/drawingml/2006/main" xmlns:r="http://schemas.openxmlformats.org/officeDocument/2006/relationships" xmlns:p="http://schemas.openxmlformats.org/presentationml/2006/main">
  <p:tag name="NUM" val="7"/>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GC.wt9v6j0ZAfzcBOY2AA"/>
</p:tagLst>
</file>

<file path=ppt/tags/tag152.xml><?xml version="1.0" encoding="utf-8"?>
<p:tagLst xmlns:a="http://schemas.openxmlformats.org/drawingml/2006/main" xmlns:r="http://schemas.openxmlformats.org/officeDocument/2006/relationships" xmlns:p="http://schemas.openxmlformats.org/presentationml/2006/main">
  <p:tag name="NUM" val="7"/>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sCvWd.hQduG0Za_NshQ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ulk Contrast">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Bulk_Powerpoint_Template_April_2021_SMALL  -  Compatibility Mode" id="{0D7CFCF6-FEF9-491D-B43E-EC06A4540F8B}" vid="{0D0F83D0-76B6-4654-91FC-62F29E2D0473}"/>
    </a:ext>
  </a:extLst>
</a:theme>
</file>

<file path=ppt/theme/theme2.xml><?xml version="1.0" encoding="utf-8"?>
<a:theme xmlns:a="http://schemas.openxmlformats.org/drawingml/2006/main" name="Bulk Contrast">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Bulk_Powerpoint_Template_April_2021_SMALL  -  Compatibility Mode" id="{0D7CFCF6-FEF9-491D-B43E-EC06A4540F8B}" vid="{0D0F83D0-76B6-4654-91FC-62F29E2D0473}"/>
    </a:ext>
  </a:extLst>
</a:theme>
</file>

<file path=ppt/theme/theme3.xml><?xml version="1.0" encoding="utf-8"?>
<a:theme xmlns:a="http://schemas.openxmlformats.org/drawingml/2006/main" name="Bulk White">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Bulk_Powerpoint_Template_April_2021_SMALL  -  Compatibility Mode" id="{0D7CFCF6-FEF9-491D-B43E-EC06A4540F8B}" vid="{2883BE81-184C-45B8-AF93-274CEE755D3B}"/>
    </a:ext>
  </a:extLst>
</a:theme>
</file>

<file path=ppt/theme/theme4.xml><?xml version="1.0" encoding="utf-8"?>
<a:theme xmlns:a="http://schemas.openxmlformats.org/drawingml/2006/main" name="1_Bulk White">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Bulk_Powerpoint_Template_2021" id="{E6D57E20-03A3-44D0-BE09-050C0DCFA7B5}" vid="{9A8CF167-6262-4AE0-91CD-C88D06D95981}"/>
    </a:ext>
  </a:extLst>
</a:theme>
</file>

<file path=ppt/theme/theme5.xml><?xml version="1.0" encoding="utf-8"?>
<a:theme xmlns:a="http://schemas.openxmlformats.org/drawingml/2006/main" name="Bulk White">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Bulk_Powerpoint_Template_April_2021_SMALL  -  Compatibility Mode" id="{0D7CFCF6-FEF9-491D-B43E-EC06A4540F8B}" vid="{2883BE81-184C-45B8-AF93-274CEE755D3B}"/>
    </a:ext>
  </a:extLst>
</a:theme>
</file>

<file path=ppt/theme/theme6.xml><?xml version="1.0" encoding="utf-8"?>
<a:theme xmlns:a="http://schemas.openxmlformats.org/drawingml/2006/main" name="1_Bulk Contrast">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Sigma2 - Site visit" id="{FA6467D5-F1B7-481C-81FC-9C01029B497A}" vid="{F8BB92A1-E868-4768-99ED-8D5C4D21E974}"/>
    </a:ext>
  </a:extLst>
</a:theme>
</file>

<file path=ppt/theme/theme7.xml><?xml version="1.0" encoding="utf-8"?>
<a:theme xmlns:a="http://schemas.openxmlformats.org/drawingml/2006/main" name="2_Bulk Contrast">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Bulk_Powerpoint_Template_April_2021_SMALL  -  Compatibility Mode" id="{0D7CFCF6-FEF9-491D-B43E-EC06A4540F8B}" vid="{0D0F83D0-76B6-4654-91FC-62F29E2D0473}"/>
    </a:ext>
  </a:extLst>
</a:theme>
</file>

<file path=ppt/theme/theme8.xml><?xml version="1.0" encoding="utf-8"?>
<a:theme xmlns:a="http://schemas.openxmlformats.org/drawingml/2006/main" name="3_Bulk White">
  <a:themeElements>
    <a:clrScheme name="Bulk">
      <a:dk1>
        <a:srgbClr val="1C2C3C"/>
      </a:dk1>
      <a:lt1>
        <a:sysClr val="window" lastClr="FFFFFF"/>
      </a:lt1>
      <a:dk2>
        <a:srgbClr val="1C2C3C"/>
      </a:dk2>
      <a:lt2>
        <a:srgbClr val="FFFFFF"/>
      </a:lt2>
      <a:accent1>
        <a:srgbClr val="00A89F"/>
      </a:accent1>
      <a:accent2>
        <a:srgbClr val="364657"/>
      </a:accent2>
      <a:accent3>
        <a:srgbClr val="1EC6C0"/>
      </a:accent3>
      <a:accent4>
        <a:srgbClr val="526981"/>
      </a:accent4>
      <a:accent5>
        <a:srgbClr val="83DBD5"/>
      </a:accent5>
      <a:accent6>
        <a:srgbClr val="B5C2D0"/>
      </a:accent6>
      <a:hlink>
        <a:srgbClr val="00A89F"/>
      </a:hlink>
      <a:folHlink>
        <a:srgbClr val="83DB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20210208-Bulk PowerPoint template-ny3" id="{F2C048E1-FFA4-41D1-819F-DEC32DF81A71}" vid="{706A9CE8-65C9-437B-BE62-0EE0D8DF7DB5}"/>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70bc1ae5-b6e5-48a9-9046-b979b39a9849" xsi:nil="true"/>
    <lcf76f155ced4ddcb4097134ff3c332f xmlns="569aaf43-0d38-4c28-a8dd-3db31c9b56e1">
      <Terms xmlns="http://schemas.microsoft.com/office/infopath/2007/PartnerControls"/>
    </lcf76f155ced4ddcb4097134ff3c332f>
    <SharedWithUsers xmlns="573dc0ec-638a-4f76-b4d8-77e60a5aac63">
      <UserInfo>
        <DisplayName>Sustainability - Environment Owners</DisplayName>
        <AccountId>6</AccountId>
        <AccountType/>
      </UserInfo>
      <UserInfo>
        <DisplayName>Diego Ramirez</DisplayName>
        <AccountId>15</AccountId>
        <AccountType/>
      </UserInfo>
      <UserInfo>
        <DisplayName>SharingLinks.1bfc4196-8bdd-4db8-9a73-44bf0c7d5e1d.Flexible.f6903c78-e680-4395-a6ed-a9c5e28568f5</DisplayName>
        <AccountId>66</AccountId>
        <AccountType/>
      </UserInfo>
      <UserInfo>
        <DisplayName>Owais Bazaz</DisplayName>
        <AccountId>67</AccountId>
        <AccountType/>
      </UserInfo>
      <UserInfo>
        <DisplayName>Torbjørn Moe</DisplayName>
        <AccountId>29</AccountId>
        <AccountType/>
      </UserInfo>
      <UserInfo>
        <DisplayName>Hans Kristian Odland</DisplayName>
        <AccountId>21</AccountId>
        <AccountType/>
      </UserInfo>
      <UserInfo>
        <DisplayName>Morten Drange</DisplayName>
        <AccountId>189</AccountId>
        <AccountType/>
      </UserInfo>
      <UserInfo>
        <DisplayName>Tor Ribland</DisplayName>
        <AccountId>26</AccountId>
        <AccountType/>
      </UserInfo>
      <UserInfo>
        <DisplayName>Yngve Frøystad</DisplayName>
        <AccountId>192</AccountId>
        <AccountType/>
      </UserInfo>
      <UserInfo>
        <DisplayName>Kristian Kofoed-Solheim</DisplayName>
        <AccountId>35</AccountId>
        <AccountType/>
      </UserInfo>
      <UserInfo>
        <DisplayName>Cathrine Telje</DisplayName>
        <AccountId>197</AccountId>
        <AccountType/>
      </UserInfo>
      <UserInfo>
        <DisplayName>Lina Halvorsen</DisplayName>
        <AccountId>133</AccountId>
        <AccountType/>
      </UserInfo>
      <UserInfo>
        <DisplayName>Torill Møklebust</DisplayName>
        <AccountId>32</AccountId>
        <AccountType/>
      </UserInfo>
      <UserInfo>
        <DisplayName>Jon Gravråk</DisplayName>
        <AccountId>42</AccountId>
        <AccountType/>
      </UserInfo>
      <UserInfo>
        <DisplayName>Peder Naerboe (Nærbø)</DisplayName>
        <AccountId>93</AccountId>
        <AccountType/>
      </UserInfo>
      <UserInfo>
        <DisplayName>Stine Bjønnstu Holthe</DisplayName>
        <AccountId>13</AccountId>
        <AccountType/>
      </UserInfo>
      <UserInfo>
        <DisplayName>Merete Caubet</DisplayName>
        <AccountId>38</AccountId>
        <AccountType/>
      </UserInfo>
      <UserInfo>
        <DisplayName>Øyvind Gaska</DisplayName>
        <AccountId>219</AccountId>
        <AccountType/>
      </UserInfo>
      <UserInfo>
        <DisplayName>Elias Wilhelm Lønseth</DisplayName>
        <AccountId>79</AccountId>
        <AccountType/>
      </UserInfo>
      <UserInfo>
        <DisplayName>Einar Stabell</DisplayName>
        <AccountId>228</AccountId>
        <AccountType/>
      </UserInfo>
      <UserInfo>
        <DisplayName>Rune Øidne Reinertsen</DisplayName>
        <AccountId>202</AccountId>
        <AccountType/>
      </UserInfo>
    </SharedWithUsers>
    <Yes xmlns="569aaf43-0d38-4c28-a8dd-3db31c9b56e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1EDF3718A9ABB48B4657FBD02922C5C" ma:contentTypeVersion="20" ma:contentTypeDescription="Opprett et nytt dokument." ma:contentTypeScope="" ma:versionID="e24617f69252dfff3e316b2b0c565b91">
  <xsd:schema xmlns:xsd="http://www.w3.org/2001/XMLSchema" xmlns:xs="http://www.w3.org/2001/XMLSchema" xmlns:p="http://schemas.microsoft.com/office/2006/metadata/properties" xmlns:ns2="569aaf43-0d38-4c28-a8dd-3db31c9b56e1" xmlns:ns3="573dc0ec-638a-4f76-b4d8-77e60a5aac63" xmlns:ns4="70bc1ae5-b6e5-48a9-9046-b979b39a9849" targetNamespace="http://schemas.microsoft.com/office/2006/metadata/properties" ma:root="true" ma:fieldsID="05cbcdb1afe51270bdc37fd7ba90da79" ns2:_="" ns3:_="" ns4:_="">
    <xsd:import namespace="569aaf43-0d38-4c28-a8dd-3db31c9b56e1"/>
    <xsd:import namespace="573dc0ec-638a-4f76-b4d8-77e60a5aac63"/>
    <xsd:import namespace="70bc1ae5-b6e5-48a9-9046-b979b39a984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GenerationTime" minOccurs="0"/>
                <xsd:element ref="ns2:MediaServiceEventHashCode" minOccurs="0"/>
                <xsd:element ref="ns2:lcf76f155ced4ddcb4097134ff3c332f" minOccurs="0"/>
                <xsd:element ref="ns4:TaxCatchAll" minOccurs="0"/>
                <xsd:element ref="ns2:MediaServiceOCR" minOccurs="0"/>
                <xsd:element ref="ns2:MediaServiceLocation" minOccurs="0"/>
                <xsd:element ref="ns2:MediaServiceSearchProperties" minOccurs="0"/>
                <xsd:element ref="ns2:Yes"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aaf43-0d38-4c28-a8dd-3db31c9b56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Bildemerkelapper" ma:readOnly="false" ma:fieldId="{5cf76f15-5ced-4ddc-b409-7134ff3c332f}" ma:taxonomyMulti="true" ma:sspId="26dc2742-6e7b-4173-b811-90e9ecbfea85"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Yes" ma:index="24" nillable="true" ma:displayName="Yes" ma:format="Dropdown" ma:internalName="Yes">
      <xsd:simpleType>
        <xsd:union memberTypes="dms:Text">
          <xsd:simpleType>
            <xsd:restriction base="dms:Choice">
              <xsd:enumeration value="ja"/>
              <xsd:enumeration value="nei"/>
              <xsd:enumeration value="Vet ikke"/>
            </xsd:restriction>
          </xsd:simpleType>
        </xsd:un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73dc0ec-638a-4f76-b4d8-77e60a5aac63" elementFormDefault="qualified">
    <xsd:import namespace="http://schemas.microsoft.com/office/2006/documentManagement/types"/>
    <xsd:import namespace="http://schemas.microsoft.com/office/infopath/2007/PartnerControls"/>
    <xsd:element name="SharedWithUsers" ma:index="14"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bc1ae5-b6e5-48a9-9046-b979b39a9849"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e7ab19bd-0e25-48ec-bd12-9913730ea27e}" ma:internalName="TaxCatchAll" ma:showField="CatchAllData" ma:web="573dc0ec-638a-4f76-b4d8-77e60a5aac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3DF9CE-6FAE-444C-AB82-9A85F050616C}">
  <ds:schemaRefs>
    <ds:schemaRef ds:uri="http://schemas.microsoft.com/sharepoint/v3/contenttype/forms"/>
  </ds:schemaRefs>
</ds:datastoreItem>
</file>

<file path=customXml/itemProps2.xml><?xml version="1.0" encoding="utf-8"?>
<ds:datastoreItem xmlns:ds="http://schemas.openxmlformats.org/officeDocument/2006/customXml" ds:itemID="{67DEC0BE-6DE2-42D0-8DD9-E0FF37E08AA4}">
  <ds:schemaRefs>
    <ds:schemaRef ds:uri="569aaf43-0d38-4c28-a8dd-3db31c9b56e1"/>
    <ds:schemaRef ds:uri="573dc0ec-638a-4f76-b4d8-77e60a5aac63"/>
    <ds:schemaRef ds:uri="70bc1ae5-b6e5-48a9-9046-b979b39a984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1322E68-E1B6-4ACC-8C09-61195B2A20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aaf43-0d38-4c28-a8dd-3db31c9b56e1"/>
    <ds:schemaRef ds:uri="573dc0ec-638a-4f76-b4d8-77e60a5aac63"/>
    <ds:schemaRef ds:uri="70bc1ae5-b6e5-48a9-9046-b979b39a98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ulk_Powerpoint_Template_April_2021_SMALL</Template>
  <TotalTime>4405</TotalTime>
  <Words>4521</Words>
  <Application>Microsoft Macintosh PowerPoint</Application>
  <PresentationFormat>Widescreen</PresentationFormat>
  <Paragraphs>525</Paragraphs>
  <Slides>38</Slides>
  <Notes>35</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38</vt:i4>
      </vt:variant>
    </vt:vector>
  </HeadingPairs>
  <TitlesOfParts>
    <vt:vector size="52" baseType="lpstr">
      <vt:lpstr>Arial,Sans-Serif</vt:lpstr>
      <vt:lpstr>Google Sans</vt:lpstr>
      <vt:lpstr>Arial</vt:lpstr>
      <vt:lpstr>Calibri</vt:lpstr>
      <vt:lpstr>Wingdings</vt:lpstr>
      <vt:lpstr>Bulk Contrast</vt:lpstr>
      <vt:lpstr>Bulk Contrast</vt:lpstr>
      <vt:lpstr>Bulk White</vt:lpstr>
      <vt:lpstr>1_Bulk White</vt:lpstr>
      <vt:lpstr>Bulk White</vt:lpstr>
      <vt:lpstr>1_Bulk Contrast</vt:lpstr>
      <vt:lpstr>2_Bulk Contrast</vt:lpstr>
      <vt:lpstr>3_Bulk White</vt:lpstr>
      <vt:lpstr>think-cell Slide</vt:lpstr>
      <vt:lpstr>Sustainability – Building sustainable digital infrastructure </vt:lpstr>
      <vt:lpstr>Merete Caubet SVP Fiber Networks, BULK Infrastructure</vt:lpstr>
      <vt:lpstr>Building Sustainable Digital Infrastructure   Agenda</vt:lpstr>
      <vt:lpstr>Building Sustainable digital infrastructure</vt:lpstr>
      <vt:lpstr>Solving a problem</vt:lpstr>
      <vt:lpstr>Bulk Infrastructure Group is a leading provider of sustainable infrastructure </vt:lpstr>
      <vt:lpstr>Bulk’s digital infrastructure platform</vt:lpstr>
      <vt:lpstr>Gen AI revolution continues to drive massive increase in demand</vt:lpstr>
      <vt:lpstr>Building Sustainable digital infrastructure</vt:lpstr>
      <vt:lpstr>What do we mean by “Sustainable Digital Infrastructure”?</vt:lpstr>
      <vt:lpstr>Sustainability Framework</vt:lpstr>
      <vt:lpstr>Building Sustainable digital infrastructure</vt:lpstr>
      <vt:lpstr>Location</vt:lpstr>
      <vt:lpstr>Why the Nordics?</vt:lpstr>
      <vt:lpstr>Enabling the Nordics by connecting the region with fiber optic networks</vt:lpstr>
      <vt:lpstr>Building Sustainable digital infrastructure</vt:lpstr>
      <vt:lpstr>PowerPoint Presentation</vt:lpstr>
      <vt:lpstr>PowerPoint Presentation</vt:lpstr>
      <vt:lpstr>Building Sustainable digital infrastructure</vt:lpstr>
      <vt:lpstr>Ecosystem at N01 Data Center Campus  </vt:lpstr>
      <vt:lpstr>Ecosystem – heat reuse in a circular industry cluster</vt:lpstr>
      <vt:lpstr>Example: Ecosystem – reestablishing marshland</vt:lpstr>
      <vt:lpstr>Example: Ecosystem – biodiversity in the ocean</vt:lpstr>
      <vt:lpstr>Building Sustainable digital infrastructure</vt:lpstr>
      <vt:lpstr>Society</vt:lpstr>
      <vt:lpstr>Building Sustainable digital infrastructure</vt:lpstr>
      <vt:lpstr>What are your targets? Focus areas?</vt:lpstr>
      <vt:lpstr>Our Climate Targets</vt:lpstr>
      <vt:lpstr>GHG Protocol – GHG Emissions Accounting  </vt:lpstr>
      <vt:lpstr>Bulk Data Centers – GHG Emissions 2024 </vt:lpstr>
      <vt:lpstr>Climate Budgeting – a pathway to achieving ambitions</vt:lpstr>
      <vt:lpstr>Bulk’s identified climate-related risks and opportunities</vt:lpstr>
      <vt:lpstr>Looking Ahead - Focus Areas </vt:lpstr>
      <vt:lpstr>Building Sustainable digital infrastructure</vt:lpstr>
      <vt:lpstr>Digital Infrastructure is part of the solution</vt:lpstr>
      <vt:lpstr>LEIF ERIKSON - a sustainability project  Unlocking the global renewable giant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lk presetasjon til Vennesla Kommune</dc:title>
  <dc:creator>Elias Wilhelm Lønseth</dc:creator>
  <cp:lastModifiedBy>Roger Proeis</cp:lastModifiedBy>
  <cp:revision>9</cp:revision>
  <dcterms:created xsi:type="dcterms:W3CDTF">2022-11-28T07:23:17Z</dcterms:created>
  <dcterms:modified xsi:type="dcterms:W3CDTF">2026-01-18T10:1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56ab121-2ad1-4075-a82f-22799e685fd7_Enabled">
    <vt:lpwstr>true</vt:lpwstr>
  </property>
  <property fmtid="{D5CDD505-2E9C-101B-9397-08002B2CF9AE}" pid="3" name="MSIP_Label_e56ab121-2ad1-4075-a82f-22799e685fd7_SetDate">
    <vt:lpwstr>2021-04-06T10:01:16Z</vt:lpwstr>
  </property>
  <property fmtid="{D5CDD505-2E9C-101B-9397-08002B2CF9AE}" pid="4" name="MSIP_Label_e56ab121-2ad1-4075-a82f-22799e685fd7_Method">
    <vt:lpwstr>Standard</vt:lpwstr>
  </property>
  <property fmtid="{D5CDD505-2E9C-101B-9397-08002B2CF9AE}" pid="5" name="MSIP_Label_e56ab121-2ad1-4075-a82f-22799e685fd7_Name">
    <vt:lpwstr>Internal</vt:lpwstr>
  </property>
  <property fmtid="{D5CDD505-2E9C-101B-9397-08002B2CF9AE}" pid="6" name="MSIP_Label_e56ab121-2ad1-4075-a82f-22799e685fd7_SiteId">
    <vt:lpwstr>b2baa335-a9ab-41b7-a905-c64fe7a9c9e6</vt:lpwstr>
  </property>
  <property fmtid="{D5CDD505-2E9C-101B-9397-08002B2CF9AE}" pid="7" name="MSIP_Label_e56ab121-2ad1-4075-a82f-22799e685fd7_ActionId">
    <vt:lpwstr>f8367952-c967-4116-be5c-d31b6e8ac71d</vt:lpwstr>
  </property>
  <property fmtid="{D5CDD505-2E9C-101B-9397-08002B2CF9AE}" pid="8" name="MSIP_Label_e56ab121-2ad1-4075-a82f-22799e685fd7_ContentBits">
    <vt:lpwstr>0</vt:lpwstr>
  </property>
  <property fmtid="{D5CDD505-2E9C-101B-9397-08002B2CF9AE}" pid="9" name="ContentTypeId">
    <vt:lpwstr>0x010100B1EDF3718A9ABB48B4657FBD02922C5C</vt:lpwstr>
  </property>
  <property fmtid="{D5CDD505-2E9C-101B-9397-08002B2CF9AE}" pid="10" name="Order">
    <vt:r8>11100</vt:r8>
  </property>
  <property fmtid="{D5CDD505-2E9C-101B-9397-08002B2CF9AE}" pid="11" name="xd_Signature">
    <vt:bool>false</vt:bool>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MediaServiceImageTags">
    <vt:lpwstr/>
  </property>
</Properties>
</file>